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41" r:id="rId5"/>
    <p:sldId id="342" r:id="rId6"/>
    <p:sldId id="343" r:id="rId7"/>
    <p:sldId id="344" r:id="rId8"/>
    <p:sldId id="345" r:id="rId9"/>
    <p:sldId id="349" r:id="rId10"/>
    <p:sldId id="346" r:id="rId11"/>
    <p:sldId id="347" r:id="rId12"/>
    <p:sldId id="348" r:id="rId13"/>
  </p:sldIdLst>
  <p:sldSz cx="10080625" cy="5670550"/>
  <p:notesSz cx="6858000" cy="9144000"/>
  <p:custDataLst>
    <p:tags r:id="rId16"/>
  </p:custDataLst>
  <p:defaultTextStyle>
    <a:defPPr>
      <a:defRPr lang="en-US"/>
    </a:defPPr>
    <a:lvl1pPr marL="0" indent="0" algn="l" defTabSz="756026" rtl="0" eaLnBrk="1" latinLnBrk="0" hangingPunct="1">
      <a:lnSpc>
        <a:spcPct val="120000"/>
      </a:lnSpc>
      <a:spcBef>
        <a:spcPts val="600"/>
      </a:spcBef>
      <a:buFont typeface="Wingdings" panose="05000000000000000000" pitchFamily="2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90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08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26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440000" indent="-180000" algn="l" defTabSz="756026" rtl="0" eaLnBrk="1" latinLnBrk="0" hangingPunct="1">
      <a:lnSpc>
        <a:spcPct val="120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hapter slide" id="{AD7CAD78-33C4-432B-B769-B148CB048EB7}">
          <p14:sldIdLst>
            <p14:sldId id="341"/>
          </p14:sldIdLst>
        </p14:section>
        <p14:section name="Content slides" id="{F5BA3E67-26D5-4455-9601-A7B7534FCAA7}">
          <p14:sldIdLst>
            <p14:sldId id="342"/>
            <p14:sldId id="343"/>
            <p14:sldId id="344"/>
            <p14:sldId id="345"/>
            <p14:sldId id="349"/>
            <p14:sldId id="346"/>
            <p14:sldId id="347"/>
            <p14:sldId id="34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EBBFF602-8BC4-12B3-5DA6-9C5ADFFEC81D}" name="Zander, Elena (Bilfinger SE)" initials="ZS" userId="S::elena.zander_bilfinger.com#ext#@bertelsmann.onmicrosoft.com::b50ea17f-e867-4bbd-a506-79823995a16e" providerId="AD"/>
  <p188:author id="{3B8F6008-D0FA-FEB4-6ADC-E20A2161AAFA}" name="Naroska, Milena, TERRITORY GmbH" initials="" userId="S::Naroska.Milena@territory.group::afc89702-e390-4df7-aedf-af7768554970" providerId="AD"/>
  <p188:author id="{04C84167-7273-ABED-82F1-B882C6AB417B}" name="Naroska, Milena, TERRITORY GmbH" initials="NG" userId="S::naroska.milena@territory.group::afc89702-e390-4df7-aedf-af7768554970" providerId="AD"/>
  <p188:author id="{09C3DE71-E2A5-3840-BC77-0A8677CA7A0A}" name="Wolpers, Sarah (Bilfinger)" initials="SW" userId="S::sarah.wolpers@bilfinger.com::4f42bc73-d641-4588-ab9b-6a21f9275e5e" providerId="AD"/>
  <p188:author id="{BC184A72-CB32-8B7D-8A5B-489688E3AE45}" name="Odenhausen, Jennifer, TERRITORY" initials="JS" userId="S::Odenhausen.Jennifer@territory.group::04ad524c-6545-400a-be36-66b007a7bb82" providerId="AD"/>
  <p188:author id="{8D2D2CDB-4665-CB19-7B1D-342DB66FF080}" name="Ulrike Herzberg | i-pointing" initials="UH" userId="S::ulrike.herzberg@i-pointing.de::5e9c84aa-bdc9-4cda-9116-2fda87b38427" providerId="AD"/>
  <p188:author id="{330E63DD-3BD8-9763-EC5D-D8AE33D9A375}" name="Zander, Elena (Bilfinger)" initials="ZE" userId="S::elena.zander@bilfinger.com::52be1054-4f8a-4650-89fe-849e288e934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20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146" y="108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E4EBC15-959E-ABE8-2E75-CA33A6C5BE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B58104-F7ED-619E-DC6D-BFA3B82586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9431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ctr"/>
            <a:fld id="{D96B34F2-77A4-49EF-A566-10050C3CE1D2}" type="datetimeFigureOut">
              <a:rPr lang="en-US" smtClean="0"/>
              <a:pPr algn="ctr"/>
              <a:t>9/1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0C57F5-1947-2FDC-8292-29FFB1EE74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C33379-F107-8AFC-2B67-B69310A61F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6F2D46-823A-4655-9A84-226A844CB2B8}" type="slidenum">
              <a:rPr lang="en-US" smtClean="0"/>
              <a:t>‹N°›</a:t>
            </a:fld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0B8D025-B445-0807-7946-4004FB848CB4}"/>
              </a:ext>
            </a:extLst>
          </p:cNvPr>
          <p:cNvGrpSpPr/>
          <p:nvPr/>
        </p:nvGrpSpPr>
        <p:grpSpPr>
          <a:xfrm>
            <a:off x="6237288" y="103143"/>
            <a:ext cx="501650" cy="457245"/>
            <a:chOff x="8693391" y="161252"/>
            <a:chExt cx="1044000" cy="951586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F260D840-021B-6AAA-665A-A1CA6FD5A5AB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A7C4207B-0567-3C01-1332-9E69473BFB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997286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A3F1A843-AC66-4261-AAB9-D7F5663699E5}" type="datetimeFigureOut">
              <a:rPr lang="en-US" smtClean="0"/>
              <a:pPr/>
              <a:t>9/1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515979" y="1032461"/>
            <a:ext cx="3826042" cy="215214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758282"/>
            <a:ext cx="5486400" cy="424271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03561B3-FA96-4B80-B52C-D6F6159E959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96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60363" indent="-179388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41338" indent="-180975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22313" indent="-180975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901700" indent="-179388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9216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CB6684BF-3549-B51E-BE0D-192BFF7BF94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19699" y="0"/>
            <a:ext cx="4860925" cy="5670550"/>
          </a:xfrm>
          <a:custGeom>
            <a:avLst/>
            <a:gdLst>
              <a:gd name="connsiteX0" fmla="*/ 0 w 4860925"/>
              <a:gd name="connsiteY0" fmla="*/ 0 h 5670550"/>
              <a:gd name="connsiteX1" fmla="*/ 2278064 w 4860925"/>
              <a:gd name="connsiteY1" fmla="*/ 0 h 5670550"/>
              <a:gd name="connsiteX2" fmla="*/ 3384551 w 4860925"/>
              <a:gd name="connsiteY2" fmla="*/ 0 h 5670550"/>
              <a:gd name="connsiteX3" fmla="*/ 3384551 w 4860925"/>
              <a:gd name="connsiteY3" fmla="*/ 1250950 h 5670550"/>
              <a:gd name="connsiteX4" fmla="*/ 4573589 w 4860925"/>
              <a:gd name="connsiteY4" fmla="*/ 1250950 h 5670550"/>
              <a:gd name="connsiteX5" fmla="*/ 4573589 w 4860925"/>
              <a:gd name="connsiteY5" fmla="*/ 0 h 5670550"/>
              <a:gd name="connsiteX6" fmla="*/ 4860925 w 4860925"/>
              <a:gd name="connsiteY6" fmla="*/ 0 h 5670550"/>
              <a:gd name="connsiteX7" fmla="*/ 4860925 w 4860925"/>
              <a:gd name="connsiteY7" fmla="*/ 5670550 h 5670550"/>
              <a:gd name="connsiteX8" fmla="*/ 2278064 w 4860925"/>
              <a:gd name="connsiteY8" fmla="*/ 5670550 h 5670550"/>
              <a:gd name="connsiteX9" fmla="*/ 0 w 4860925"/>
              <a:gd name="connsiteY9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60925" h="5670550">
                <a:moveTo>
                  <a:pt x="0" y="0"/>
                </a:moveTo>
                <a:lnTo>
                  <a:pt x="2278064" y="0"/>
                </a:lnTo>
                <a:lnTo>
                  <a:pt x="3384551" y="0"/>
                </a:lnTo>
                <a:lnTo>
                  <a:pt x="3384551" y="1250950"/>
                </a:lnTo>
                <a:lnTo>
                  <a:pt x="4573589" y="1250950"/>
                </a:lnTo>
                <a:lnTo>
                  <a:pt x="4573589" y="0"/>
                </a:lnTo>
                <a:lnTo>
                  <a:pt x="4860925" y="0"/>
                </a:lnTo>
                <a:lnTo>
                  <a:pt x="4860925" y="5670550"/>
                </a:lnTo>
                <a:lnTo>
                  <a:pt x="2278064" y="5670550"/>
                </a:lnTo>
                <a:lnTo>
                  <a:pt x="0" y="567055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3060312" y="1254125"/>
            <a:ext cx="3960000" cy="39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FEDD7FA-FE10-2D13-BC9E-AA28CCC7DDFE}"/>
              </a:ext>
            </a:extLst>
          </p:cNvPr>
          <p:cNvSpPr/>
          <p:nvPr userDrawn="1"/>
        </p:nvSpPr>
        <p:spPr bwMode="gray">
          <a:xfrm>
            <a:off x="10417173" y="3175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/>
            </a:lvl1pPr>
          </a:lstStyle>
          <a:p>
            <a:r>
              <a:rPr lang="en-US"/>
              <a:t>Edit mas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435629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 userDrawn="1">
          <p15:clr>
            <a:srgbClr val="F26B43"/>
          </p15:clr>
        </p15:guide>
        <p15:guide id="5" pos="5420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10 topics (wi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5C0BE6-BC82-E51D-6057-ECBC14F3B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752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C0BE6-BC82-E51D-6057-ECBC14F3B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71B512CA-E412-AFD2-1414-AAA6BE296DAD}"/>
              </a:ext>
            </a:extLst>
          </p:cNvPr>
          <p:cNvSpPr/>
          <p:nvPr userDrawn="1"/>
        </p:nvSpPr>
        <p:spPr bwMode="gray">
          <a:xfrm>
            <a:off x="0" y="0"/>
            <a:ext cx="3455988" cy="56705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B5A323E-0797-30C6-8962-99273BBAFF52}"/>
              </a:ext>
            </a:extLst>
          </p:cNvPr>
          <p:cNvSpPr/>
          <p:nvPr userDrawn="1"/>
        </p:nvSpPr>
        <p:spPr bwMode="gray">
          <a:xfrm flipH="1">
            <a:off x="2268416" y="1250950"/>
            <a:ext cx="3960000" cy="3960813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/>
          <a:p>
            <a:pPr lvl="0" rtl="0">
              <a:spcBef>
                <a:spcPts val="0"/>
              </a:spcBef>
            </a:pPr>
            <a:endParaRPr lang="en-US" sz="100">
              <a:solidFill>
                <a:schemeClr val="tx1"/>
              </a:solidFill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21F22-E108-A9F7-9DB9-8786A54407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149" y="1606065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8F121C-B1B6-E743-F6C2-26AE729ABF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0149" y="2381489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B232F34-E83E-7AA4-95F4-6DF7864049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149" y="3156913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8A85509-B2FC-980C-76C6-59FFAEE3F4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149" y="3932337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FFDBB5F-D7CF-3CA7-533A-4C8E3E38A8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0149" y="4707763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68CDEFD-277A-4507-62CA-ECE509162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23150" y="1606065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85F64A9-5415-C4C0-185C-F6AC608F1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48149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B51B2E3D-19F3-E614-A5B8-F5DE10108E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149" y="233576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0C2948E-6E4A-5538-FCAC-5F592DB0DA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48149" y="311119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0AE81F2-78F5-CDC5-8586-054244F03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8149" y="388661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17C45FB-002E-EB92-CD96-9AE077AFCE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8149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7BDA1F86-029B-EA4B-318E-F537DC7226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91150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AB7D3CD-C4EB-63BA-3C43-41773A08BE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8149" y="726787"/>
            <a:ext cx="3960813" cy="437236"/>
          </a:xfrm>
        </p:spPr>
        <p:txBody>
          <a:bodyPr vert="horz"/>
          <a:lstStyle>
            <a:lvl1pPr rtl="0">
              <a:defRPr sz="27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F9350DA-609B-CFD2-9382-ED3E9509B5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91150" y="233576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3D5F01A5-4468-6CF5-63AD-2EA5DC8CEB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23150" y="2381489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88F73686-060B-315E-23F9-79C153D7F9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91150" y="311119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B99A181-0006-3C24-71E6-D626FD2AF0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23150" y="3156913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94A6739-927C-306C-0A05-F9D80B7A4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1150" y="388661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E41B383-1B55-D171-7A9B-8448B51E9E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23150" y="3932337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6CFA8111-3ED9-083E-78BB-CB81B79DCA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1150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E2A6B465-CBB6-1DAA-D016-892A1DA550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23150" y="4707763"/>
            <a:ext cx="2088000" cy="504000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34231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6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DF724B1-E986-71F6-0EA1-C3F587CDD21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3455988" cy="5670550"/>
          </a:xfrm>
          <a:solidFill>
            <a:schemeClr val="tx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CFADD8C-7630-A4CB-BEE3-C4A0102307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5" hasCustomPrompt="1"/>
          </p:nvPr>
        </p:nvSpPr>
        <p:spPr>
          <a:xfrm flipH="1">
            <a:off x="2280849" y="1255713"/>
            <a:ext cx="3960000" cy="39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5C0BE6-BC82-E51D-6057-ECBC14F3B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62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C0BE6-BC82-E51D-6057-ECBC14F3B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21F22-E108-A9F7-9DB9-8786A54407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148" y="160606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8F121C-B1B6-E743-F6C2-26AE729ABF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0148" y="222640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B232F34-E83E-7AA4-95F4-6DF7864049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148" y="284674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8A85509-B2FC-980C-76C6-59FFAEE3F4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148" y="346708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FFDBB5F-D7CF-3CA7-533A-4C8E3E38A8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0148" y="408742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68CDEFD-277A-4507-62CA-ECE509162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149" y="4707763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85F64A9-5415-C4C0-185C-F6AC608F1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48149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B51B2E3D-19F3-E614-A5B8-F5DE10108E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149" y="2193616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0C2948E-6E4A-5538-FCAC-5F592DB0DA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48149" y="282688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0AE81F2-78F5-CDC5-8586-054244F03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8149" y="3460158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17C45FB-002E-EB92-CD96-9AE077AFCE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8149" y="409342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7BDA1F86-029B-EA4B-318E-F537DC7226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48149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AB7D3CD-C4EB-63BA-3C43-41773A08BE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8149" y="726787"/>
            <a:ext cx="3960813" cy="437236"/>
          </a:xfrm>
        </p:spPr>
        <p:txBody>
          <a:bodyPr vert="horz"/>
          <a:lstStyle>
            <a:lvl1pPr rtl="0">
              <a:defRPr sz="27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3D5F01A5-4468-6CF5-63AD-2EA5DC8CEB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9484" y="160606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B99A181-0006-3C24-71E6-D626FD2AF0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69484" y="222640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E41B383-1B55-D171-7A9B-8448B51E9E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9484" y="284674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E2A6B465-CBB6-1DAA-D016-892A1DA550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69484" y="3467085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268ADF-85AE-1AA8-729B-B36BE69103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69484" y="4087425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EE677C2-6054-462B-CAF5-4A00A4A7A6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69484" y="4707763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" name="Rechteck 2">
            <a:extLst>
              <a:ext uri="{FF2B5EF4-FFF2-40B4-BE49-F238E27FC236}">
                <a16:creationId xmlns:a16="http://schemas.microsoft.com/office/drawing/2014/main" id="{B7D9DDBF-F00F-C1A4-1FEC-95C1D433CFB1}"/>
              </a:ext>
            </a:extLst>
          </p:cNvPr>
          <p:cNvSpPr/>
          <p:nvPr userDrawn="1"/>
        </p:nvSpPr>
        <p:spPr bwMode="gray">
          <a:xfrm>
            <a:off x="-1619250" y="0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91842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6 topics (wi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5C0BE6-BC82-E51D-6057-ECBC14F3B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54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C0BE6-BC82-E51D-6057-ECBC14F3B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3F56621-4CEC-0BEC-68E3-318FDAECC013}"/>
              </a:ext>
            </a:extLst>
          </p:cNvPr>
          <p:cNvSpPr/>
          <p:nvPr userDrawn="1"/>
        </p:nvSpPr>
        <p:spPr bwMode="gray">
          <a:xfrm>
            <a:off x="0" y="0"/>
            <a:ext cx="3455988" cy="56705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F0B92-9190-AF7A-1711-698D75BC9301}"/>
              </a:ext>
            </a:extLst>
          </p:cNvPr>
          <p:cNvSpPr/>
          <p:nvPr userDrawn="1"/>
        </p:nvSpPr>
        <p:spPr bwMode="gray">
          <a:xfrm flipH="1">
            <a:off x="2268416" y="1250950"/>
            <a:ext cx="3960000" cy="3960813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/>
          <a:p>
            <a:pPr lvl="0" rtl="0">
              <a:spcBef>
                <a:spcPts val="0"/>
              </a:spcBef>
            </a:pPr>
            <a:endParaRPr lang="en-US" sz="100">
              <a:solidFill>
                <a:schemeClr val="tx1"/>
              </a:solidFill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21F22-E108-A9F7-9DB9-8786A54407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148" y="160606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8F121C-B1B6-E743-F6C2-26AE729ABF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0148" y="222640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B232F34-E83E-7AA4-95F4-6DF7864049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148" y="284674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8A85509-B2FC-980C-76C6-59FFAEE3F4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148" y="346708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FFDBB5F-D7CF-3CA7-533A-4C8E3E38A8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0148" y="4087425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68CDEFD-277A-4507-62CA-ECE509162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149" y="4707763"/>
            <a:ext cx="3528813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85F64A9-5415-C4C0-185C-F6AC608F1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48149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B51B2E3D-19F3-E614-A5B8-F5DE10108E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149" y="2193616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0C2948E-6E4A-5538-FCAC-5F592DB0DA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48149" y="282688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0AE81F2-78F5-CDC5-8586-054244F03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8149" y="3460158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17C45FB-002E-EB92-CD96-9AE077AFCE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8149" y="409342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7BDA1F86-029B-EA4B-318E-F537DC7226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48149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AB7D3CD-C4EB-63BA-3C43-41773A08BE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8149" y="726787"/>
            <a:ext cx="3960813" cy="437236"/>
          </a:xfrm>
        </p:spPr>
        <p:txBody>
          <a:bodyPr vert="horz"/>
          <a:lstStyle>
            <a:lvl1pPr rtl="0">
              <a:defRPr sz="27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3D5F01A5-4468-6CF5-63AD-2EA5DC8CEB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9484" y="160606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B99A181-0006-3C24-71E6-D626FD2AF0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69484" y="222640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E41B383-1B55-D171-7A9B-8448B51E9E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9484" y="2846745"/>
            <a:ext cx="1224000" cy="504000"/>
          </a:xfrm>
        </p:spPr>
        <p:txBody>
          <a:bodyPr anchor="t"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E2A6B465-CBB6-1DAA-D016-892A1DA550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69484" y="3467085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268ADF-85AE-1AA8-729B-B36BE69103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69484" y="4087425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EE677C2-6054-462B-CAF5-4A00A4A7A6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69484" y="4707763"/>
            <a:ext cx="1224000" cy="504000"/>
          </a:xfrm>
        </p:spPr>
        <p:txBody>
          <a:bodyPr/>
          <a:lstStyle>
            <a:lvl1pPr algn="r" rtl="0">
              <a:defRPr/>
            </a:lvl1pPr>
          </a:lstStyle>
          <a:p>
            <a:pPr lvl="0"/>
            <a:r>
              <a:rPr lang="en-US"/>
              <a:t>Time</a:t>
            </a:r>
          </a:p>
        </p:txBody>
      </p:sp>
    </p:spTree>
    <p:extLst>
      <p:ext uri="{BB962C8B-B14F-4D97-AF65-F5344CB8AC3E}">
        <p14:creationId xmlns:p14="http://schemas.microsoft.com/office/powerpoint/2010/main" val="2903650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393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3C0F1D6-4CFB-85DA-0805-DBFFAC758A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032153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759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250950"/>
            <a:ext cx="7920000" cy="396081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1DB56B-CFFF-35BD-891F-ED9AFB40C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84182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83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250950"/>
            <a:ext cx="4570594" cy="39608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9700" y="1250950"/>
            <a:ext cx="4570594" cy="39608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C34B18B-C547-B0AC-5502-70E3851F6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24248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 userDrawn="1">
          <p15:clr>
            <a:srgbClr val="FBAE40"/>
          </p15:clr>
        </p15:guide>
        <p15:guide id="2" pos="306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2x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79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648231"/>
            <a:ext cx="4572058" cy="140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0331" y="3807763"/>
            <a:ext cx="4572058" cy="140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1230" y="1648231"/>
            <a:ext cx="4572058" cy="140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1250950"/>
            <a:ext cx="4570594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1" y="3410482"/>
            <a:ext cx="4570594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1230" y="1250950"/>
            <a:ext cx="4572058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1566635"/>
            <a:ext cx="4572058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0331" y="3726167"/>
            <a:ext cx="4572058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E1997-A479-0B4F-3EDA-1E15D59A1C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1230" y="1566635"/>
            <a:ext cx="4572058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2A93B5B-86CF-3237-D855-F4E2194B4B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22420" y="3410482"/>
            <a:ext cx="4572058" cy="268279"/>
          </a:xfrm>
        </p:spPr>
        <p:txBody>
          <a:bodyPr wrap="square" anchor="b">
            <a:spAutoFit/>
          </a:bodyPr>
          <a:lstStyle>
            <a:lvl1pPr rtl="0"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BBCAD96-50E1-D41F-49D5-2AB432349E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2420" y="3807763"/>
            <a:ext cx="4572058" cy="140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64B06A7-7E10-8DF2-CA5C-102450B3D6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22420" y="3726167"/>
            <a:ext cx="4572058" cy="18000"/>
          </a:xfrm>
          <a:solidFill>
            <a:schemeClr val="accent1"/>
          </a:solidFill>
        </p:spPr>
        <p:txBody>
          <a:bodyPr/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2E8F8-1725-2B47-917A-88BAAC17DD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503734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88" userDrawn="1">
          <p15:clr>
            <a:srgbClr val="FBAE40"/>
          </p15:clr>
        </p15:guide>
        <p15:guide id="5" pos="306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096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648230"/>
            <a:ext cx="2772000" cy="357080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88" y="1648230"/>
            <a:ext cx="2772000" cy="357080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21645" y="1648230"/>
            <a:ext cx="2772000" cy="357080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5988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21645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55988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E1997-A479-0B4F-3EDA-1E15D59A1C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21645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0D4ED8-0314-2E91-51F0-16AA4B6A5E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16120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77" userDrawn="1">
          <p15:clr>
            <a:srgbClr val="FBAE40"/>
          </p15:clr>
        </p15:guide>
        <p15:guide id="2" pos="1928" userDrawn="1">
          <p15:clr>
            <a:srgbClr val="FBAE40"/>
          </p15:clr>
        </p15:guide>
        <p15:guide id="3" pos="4173" userDrawn="1">
          <p15:clr>
            <a:srgbClr val="FBAE40"/>
          </p15:clr>
        </p15:guide>
        <p15:guide id="4" pos="392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3 columns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91483A-AEA3-2B75-B926-0F8DC19DD394}"/>
              </a:ext>
            </a:extLst>
          </p:cNvPr>
          <p:cNvSpPr>
            <a:spLocks/>
          </p:cNvSpPr>
          <p:nvPr userDrawn="1"/>
        </p:nvSpPr>
        <p:spPr bwMode="gray">
          <a:xfrm>
            <a:off x="6624638" y="1250950"/>
            <a:ext cx="3168650" cy="396081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277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648231"/>
            <a:ext cx="2772000" cy="35635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88" y="1648231"/>
            <a:ext cx="2772000" cy="35635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1467" y="1648231"/>
            <a:ext cx="2772000" cy="34391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5988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1467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55988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E1997-A479-0B4F-3EDA-1E15D59A1C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1467" y="1566635"/>
            <a:ext cx="2772000" cy="180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5940D2-DC75-644E-0B8E-D41D117BD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952676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77" userDrawn="1">
          <p15:clr>
            <a:srgbClr val="FBAE40"/>
          </p15:clr>
        </p15:guide>
        <p15:guide id="2" pos="1928" userDrawn="1">
          <p15:clr>
            <a:srgbClr val="FBAE40"/>
          </p15:clr>
        </p15:guide>
        <p15:guide id="3" pos="4173" userDrawn="1">
          <p15:clr>
            <a:srgbClr val="FBAE40"/>
          </p15:clr>
        </p15:guide>
        <p15:guide id="4" pos="39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3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130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648231"/>
            <a:ext cx="2772000" cy="35635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88" y="1648231"/>
            <a:ext cx="2772000" cy="35635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5988" y="1250950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55988" y="1566635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017640-83CE-4506-6478-FAC2FE2BE4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24638" y="1250950"/>
            <a:ext cx="3165656" cy="3960813"/>
          </a:xfrm>
          <a:solidFill>
            <a:schemeClr val="tx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CDCEE4-8BD8-4EA0-052E-15D1F2636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535207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77" userDrawn="1">
          <p15:clr>
            <a:srgbClr val="FBAE40"/>
          </p15:clr>
        </p15:guide>
        <p15:guide id="2" pos="1928" userDrawn="1">
          <p15:clr>
            <a:srgbClr val="FBAE40"/>
          </p15:clr>
        </p15:guide>
        <p15:guide id="3" pos="4173" userDrawn="1">
          <p15:clr>
            <a:srgbClr val="FBAE40"/>
          </p15:clr>
        </p15:guide>
        <p15:guide id="4" pos="392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i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211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C03DF6-F103-0259-DDF5-EFB8ABCD1B8F}"/>
              </a:ext>
            </a:extLst>
          </p:cNvPr>
          <p:cNvSpPr/>
          <p:nvPr userDrawn="1"/>
        </p:nvSpPr>
        <p:spPr bwMode="gray">
          <a:xfrm>
            <a:off x="5219699" y="0"/>
            <a:ext cx="4860925" cy="566976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algn="l" rtl="0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431B85-B4F2-7D1C-200A-BC5922531632}"/>
              </a:ext>
            </a:extLst>
          </p:cNvPr>
          <p:cNvSpPr/>
          <p:nvPr userDrawn="1"/>
        </p:nvSpPr>
        <p:spPr bwMode="gray">
          <a:xfrm>
            <a:off x="8604250" y="0"/>
            <a:ext cx="1189038" cy="12509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algn="l" rtl="0"/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/>
            </a:lvl1pPr>
          </a:lstStyle>
          <a:p>
            <a:r>
              <a:rPr lang="en-US"/>
              <a:t>Edit mas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4" name="Rechteck 2">
            <a:extLst>
              <a:ext uri="{FF2B5EF4-FFF2-40B4-BE49-F238E27FC236}">
                <a16:creationId xmlns:a16="http://schemas.microsoft.com/office/drawing/2014/main" id="{3FDCD6F2-001C-9CB7-8A0C-656D8FBF12B4}"/>
              </a:ext>
            </a:extLst>
          </p:cNvPr>
          <p:cNvSpPr/>
          <p:nvPr userDrawn="1"/>
        </p:nvSpPr>
        <p:spPr bwMode="gray">
          <a:xfrm>
            <a:off x="3060312" y="1250950"/>
            <a:ext cx="3960000" cy="3960813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/>
          <a:p>
            <a:pPr lvl="0" rtl="0">
              <a:spcBef>
                <a:spcPts val="0"/>
              </a:spcBef>
            </a:pPr>
            <a:endParaRPr lang="en-US" sz="1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235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 userDrawn="1">
          <p15:clr>
            <a:srgbClr val="F26B43"/>
          </p15:clr>
        </p15:guide>
        <p15:guide id="5" pos="5420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119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648230"/>
            <a:ext cx="2196000" cy="32680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5628" y="1648230"/>
            <a:ext cx="2196000" cy="32680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313" y="1648230"/>
            <a:ext cx="2196000" cy="32680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513" y="1250950"/>
            <a:ext cx="2195297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5628" y="1250950"/>
            <a:ext cx="2195297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0313" y="1250950"/>
            <a:ext cx="2196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1566635"/>
            <a:ext cx="2196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65628" y="1566635"/>
            <a:ext cx="2196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E1997-A479-0B4F-3EDA-1E15D59A1C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0313" y="1566635"/>
            <a:ext cx="2196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2A93B5B-86CF-3237-D855-F4E2194B4B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16800" y="1250950"/>
            <a:ext cx="2196000" cy="268279"/>
          </a:xfrm>
        </p:spPr>
        <p:txBody>
          <a:bodyPr wrap="square" anchor="b">
            <a:spAutoFit/>
          </a:bodyPr>
          <a:lstStyle>
            <a:lvl1pPr rtl="0"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BBCAD96-50E1-D41F-49D5-2AB432349E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16800" y="1648230"/>
            <a:ext cx="2196000" cy="32680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64B06A7-7E10-8DF2-CA5C-102450B3D6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16800" y="1566635"/>
            <a:ext cx="2196000" cy="18000"/>
          </a:xfrm>
          <a:solidFill>
            <a:schemeClr val="accent1"/>
          </a:solidFill>
        </p:spPr>
        <p:txBody>
          <a:bodyPr/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D64FCE-B341-B7F9-C3DB-6A4C54DE1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345829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75" userDrawn="1">
          <p15:clr>
            <a:srgbClr val="FBAE40"/>
          </p15:clr>
        </p15:guide>
        <p15:guide id="5" pos="3062" userDrawn="1">
          <p15:clr>
            <a:srgbClr val="FBAE40"/>
          </p15:clr>
        </p15:guide>
        <p15:guide id="6" pos="1678" userDrawn="1">
          <p15:clr>
            <a:srgbClr val="FBAE40"/>
          </p15:clr>
        </p15:guide>
        <p15:guide id="7" pos="1565" userDrawn="1">
          <p15:clr>
            <a:srgbClr val="FBAE40"/>
          </p15:clr>
        </p15:guide>
        <p15:guide id="8" pos="4672" userDrawn="1">
          <p15:clr>
            <a:srgbClr val="FBAE40"/>
          </p15:clr>
        </p15:guide>
        <p15:guide id="9" pos="4558" userDrawn="1">
          <p15:clr>
            <a:srgbClr val="FBAE40"/>
          </p15:clr>
        </p15:guide>
        <p15:guide id="10" pos="605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815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647825"/>
            <a:ext cx="4860925" cy="3167063"/>
          </a:xfrm>
          <a:solidFill>
            <a:schemeClr val="tx2"/>
          </a:solidFill>
        </p:spPr>
        <p:txBody>
          <a:bodyPr lIns="720000" tIns="720000" rIns="720000" bIns="72000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20164A-9595-6D79-C3F6-DC99000089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86005CD-B3C5-FF1F-4FE4-D3AE9595990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219700" y="1647825"/>
            <a:ext cx="4573588" cy="31670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493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  <p15:guide id="5" orient="horz" pos="3572" userDrawn="1">
          <p15:clr>
            <a:srgbClr val="FBAE40"/>
          </p15:clr>
        </p15:guide>
        <p15:guide id="6" orient="horz" pos="1038" userDrawn="1">
          <p15:clr>
            <a:srgbClr val="FBAE40"/>
          </p15:clr>
        </p15:guide>
        <p15:guide id="7" orient="horz" pos="303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99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19699" y="1647825"/>
            <a:ext cx="4860925" cy="3167063"/>
          </a:xfrm>
          <a:solidFill>
            <a:schemeClr val="tx2"/>
          </a:solidFill>
        </p:spPr>
        <p:txBody>
          <a:bodyPr lIns="720000" tIns="720000" rIns="720000" bIns="72000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4182C6F-9E7B-A772-B743-71972F3423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58BC3CB-69D5-3CD1-0BE7-985788731CE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647825"/>
            <a:ext cx="4573587" cy="31670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436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  <p15:guide id="3" orient="horz" pos="1038" userDrawn="1">
          <p15:clr>
            <a:srgbClr val="FBAE40"/>
          </p15:clr>
        </p15:guide>
        <p15:guide id="4" orient="horz" pos="303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Image lef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77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50951"/>
            <a:ext cx="4860925" cy="3960812"/>
          </a:xfrm>
          <a:solidFill>
            <a:schemeClr val="tx2"/>
          </a:solidFill>
        </p:spPr>
        <p:txBody>
          <a:bodyPr lIns="720000" tIns="720000" rIns="720000" bIns="72000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20164A-9595-6D79-C3F6-DC99000089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86005CD-B3C5-FF1F-4FE4-D3AE9595990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219700" y="1250951"/>
            <a:ext cx="4573588" cy="39608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18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  <p15:guide id="5" orient="horz" pos="357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Image righ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800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19699" y="1250951"/>
            <a:ext cx="4860925" cy="3960812"/>
          </a:xfrm>
          <a:solidFill>
            <a:schemeClr val="tx2"/>
          </a:solidFill>
        </p:spPr>
        <p:txBody>
          <a:bodyPr lIns="720000" tIns="720000" rIns="720000" bIns="72000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4182C6F-9E7B-A772-B743-71972F3423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58BC3CB-69D5-3CD1-0BE7-985788731CE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250952"/>
            <a:ext cx="4573587" cy="39608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284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2 image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400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700" y="1250951"/>
            <a:ext cx="4573587" cy="39608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1250949"/>
            <a:ext cx="4573588" cy="1890407"/>
          </a:xfrm>
          <a:solidFill>
            <a:schemeClr val="tx2"/>
          </a:solidFill>
        </p:spPr>
        <p:txBody>
          <a:bodyPr lIns="720000" tIns="720000" rIns="720000" bIns="72000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C4AD87D-3445-269E-0536-2E7797A2AE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321356"/>
            <a:ext cx="4573587" cy="1890407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50793881-270E-1CCB-FC9F-3D7BA602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24273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2 image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282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700" y="1250951"/>
            <a:ext cx="4573587" cy="39608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336" y="1250949"/>
            <a:ext cx="2196794" cy="3960000"/>
          </a:xfr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C4AD87D-3445-269E-0536-2E7797A2AE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664131" y="1250950"/>
            <a:ext cx="2196794" cy="3960000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50793881-270E-1CCB-FC9F-3D7BA602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239386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75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1250951"/>
            <a:ext cx="4573587" cy="39608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AEACF59-B4E1-7EF3-AB8C-A36271409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16705" y="1250949"/>
            <a:ext cx="2196794" cy="2628000"/>
          </a:xfr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C4AD87D-3445-269E-0536-2E7797A2AE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98262" y="2582526"/>
            <a:ext cx="2196794" cy="2629237"/>
          </a:xfrm>
          <a:solidFill>
            <a:schemeClr val="tx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FFF5A5D-60DE-83DB-49B3-740C9067B9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16524" y="4022725"/>
            <a:ext cx="2196000" cy="1189038"/>
          </a:xfrm>
          <a:solidFill>
            <a:schemeClr val="tx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4E346232-9E18-80D1-A0F1-2D1FF8DF02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97775" y="1250950"/>
            <a:ext cx="2197100" cy="1189038"/>
          </a:xfrm>
          <a:solidFill>
            <a:schemeClr val="tx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2CAD68B-E6CD-FCD6-99AC-269BFE161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95523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88">
          <p15:clr>
            <a:srgbClr val="FBAE40"/>
          </p15:clr>
        </p15:guide>
        <p15:guide id="2" pos="306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3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1487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4022725"/>
            <a:ext cx="2772000" cy="1187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2817" y="4022725"/>
            <a:ext cx="2772000" cy="1187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5302" y="4022725"/>
            <a:ext cx="2772000" cy="1187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3601634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2817" y="3601634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15302" y="3601634"/>
            <a:ext cx="2772000" cy="268279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34EDA7-2CB6-CF5B-B3C4-F6D3FC4DC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331" y="3941129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DA4FA6E-1699-7909-00E5-0E33F20031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52817" y="3941129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E1997-A479-0B4F-3EDA-1E15D59A1C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15302" y="3941129"/>
            <a:ext cx="2772000" cy="18000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999E60-5E46-13ED-AA19-8F7ABC806C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7337" y="1250949"/>
            <a:ext cx="2772000" cy="1800000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C637072-9DB3-32A9-C59B-9718A42B396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52816" y="1250949"/>
            <a:ext cx="2772000" cy="1800000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50621E41-9D19-ABA0-CE7F-4E3C523F121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022875" y="1250949"/>
            <a:ext cx="2772000" cy="1800000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BAF79D-3D06-FDA1-CB98-1E9CBF348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862176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928">
          <p15:clr>
            <a:srgbClr val="FBAE40"/>
          </p15:clr>
        </p15:guide>
        <p15:guide id="3" pos="44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–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085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4888261"/>
            <a:ext cx="2772000" cy="201274"/>
          </a:xfrm>
        </p:spPr>
        <p:txBody>
          <a:bodyPr>
            <a:spAutoFit/>
          </a:bodyPr>
          <a:lstStyle>
            <a:lvl1pPr rtl="0">
              <a:defRPr sz="120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Subtitle Pi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2817" y="4888261"/>
            <a:ext cx="2772000" cy="201274"/>
          </a:xfrm>
        </p:spPr>
        <p:txBody>
          <a:bodyPr>
            <a:spAutoFit/>
          </a:bodyPr>
          <a:lstStyle>
            <a:lvl1pPr rtl="0">
              <a:defRPr sz="120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Subtitle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5302" y="4888261"/>
            <a:ext cx="2772000" cy="201274"/>
          </a:xfrm>
        </p:spPr>
        <p:txBody>
          <a:bodyPr>
            <a:spAutoFit/>
          </a:bodyPr>
          <a:lstStyle>
            <a:lvl1pPr rtl="0">
              <a:defRPr sz="120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Subtitle Pictur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999E60-5E46-13ED-AA19-8F7ABC806C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7337" y="1250948"/>
            <a:ext cx="2772000" cy="3563939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C637072-9DB3-32A9-C59B-9718A42B396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52816" y="1250948"/>
            <a:ext cx="2772000" cy="3563939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50621E41-9D19-ABA0-CE7F-4E3C523F121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022875" y="1250948"/>
            <a:ext cx="2772000" cy="3563939"/>
          </a:xfrm>
          <a:solidFill>
            <a:schemeClr val="tx2"/>
          </a:solidFill>
        </p:spPr>
        <p:txBody>
          <a:bodyPr lIns="360000" tIns="360000" rIns="360000" bIns="360000" anchor="ctr"/>
          <a:lstStyle>
            <a:lvl1pPr algn="ctr" rtl="0">
              <a:defRPr/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CFAE7BC-BA8D-4ACA-8BFF-65F3FD351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213951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928">
          <p15:clr>
            <a:srgbClr val="FBAE40"/>
          </p15:clr>
        </p15:guide>
        <p15:guide id="3" pos="442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Fullscreen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7EEA018-3BAD-862B-4D63-CBF3694A7B2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10080624" cy="5670550"/>
          </a:xfrm>
          <a:custGeom>
            <a:avLst/>
            <a:gdLst>
              <a:gd name="connsiteX0" fmla="*/ 0 w 10080624"/>
              <a:gd name="connsiteY0" fmla="*/ 0 h 5670550"/>
              <a:gd name="connsiteX1" fmla="*/ 8604249 w 10080624"/>
              <a:gd name="connsiteY1" fmla="*/ 0 h 5670550"/>
              <a:gd name="connsiteX2" fmla="*/ 8604249 w 10080624"/>
              <a:gd name="connsiteY2" fmla="*/ 1250950 h 5670550"/>
              <a:gd name="connsiteX3" fmla="*/ 9793287 w 10080624"/>
              <a:gd name="connsiteY3" fmla="*/ 1250950 h 5670550"/>
              <a:gd name="connsiteX4" fmla="*/ 9793287 w 10080624"/>
              <a:gd name="connsiteY4" fmla="*/ 0 h 5670550"/>
              <a:gd name="connsiteX5" fmla="*/ 10080624 w 10080624"/>
              <a:gd name="connsiteY5" fmla="*/ 0 h 5670550"/>
              <a:gd name="connsiteX6" fmla="*/ 10080624 w 10080624"/>
              <a:gd name="connsiteY6" fmla="*/ 5670550 h 5670550"/>
              <a:gd name="connsiteX7" fmla="*/ 0 w 10080624"/>
              <a:gd name="connsiteY7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4" h="5670550">
                <a:moveTo>
                  <a:pt x="0" y="0"/>
                </a:moveTo>
                <a:lnTo>
                  <a:pt x="8604249" y="0"/>
                </a:lnTo>
                <a:lnTo>
                  <a:pt x="8604249" y="1250950"/>
                </a:lnTo>
                <a:lnTo>
                  <a:pt x="9793287" y="1250950"/>
                </a:lnTo>
                <a:lnTo>
                  <a:pt x="9793287" y="0"/>
                </a:lnTo>
                <a:lnTo>
                  <a:pt x="10080624" y="0"/>
                </a:lnTo>
                <a:lnTo>
                  <a:pt x="10080624" y="5670550"/>
                </a:lnTo>
                <a:lnTo>
                  <a:pt x="0" y="567055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 rot="10800000">
            <a:off x="470844" y="1250950"/>
            <a:ext cx="3960000" cy="39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614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mas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5" name="Rechteck 2">
            <a:extLst>
              <a:ext uri="{FF2B5EF4-FFF2-40B4-BE49-F238E27FC236}">
                <a16:creationId xmlns:a16="http://schemas.microsoft.com/office/drawing/2014/main" id="{23684D41-BA3A-F3E1-929B-FE9BC91F8A11}"/>
              </a:ext>
            </a:extLst>
          </p:cNvPr>
          <p:cNvSpPr/>
          <p:nvPr userDrawn="1"/>
        </p:nvSpPr>
        <p:spPr bwMode="gray">
          <a:xfrm>
            <a:off x="-1619250" y="0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95073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 userDrawn="1">
          <p15:clr>
            <a:srgbClr val="F26B43"/>
          </p15:clr>
        </p15:guide>
        <p15:guide id="5" pos="5420" userDrawn="1">
          <p15:clr>
            <a:srgbClr val="F26B43"/>
          </p15:clr>
        </p15:guide>
        <p15:guide id="6" pos="295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–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780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0" y="2602755"/>
            <a:ext cx="2107939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55457" y="2602755"/>
            <a:ext cx="2107939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0402" y="2602755"/>
            <a:ext cx="2107939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ADAF978-4354-9093-30B4-A282E82BA7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85348" y="2602755"/>
            <a:ext cx="2107939" cy="2609007"/>
          </a:xfrm>
        </p:spPr>
        <p:txBody>
          <a:bodyPr wrap="square" anchor="t">
            <a:noAutofit/>
          </a:bodyPr>
          <a:lstStyle>
            <a:lvl1pPr rtl="0"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4960B48B-231E-B820-C53F-9652FE909E8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50573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6C4066C8-6477-9DA0-1000-4524BC2A282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215700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6FB03C1E-57A5-8045-7643-D5E980E195B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5680645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7FD5F232-DCC3-742D-08F2-3E949CC6C0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145591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F8A57E-BEC8-9215-90EE-8585ED5B04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96810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– 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254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0" y="2602755"/>
            <a:ext cx="2772000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2815" y="2602755"/>
            <a:ext cx="2772000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2874" y="2602755"/>
            <a:ext cx="2772000" cy="2609007"/>
          </a:xfrm>
        </p:spPr>
        <p:txBody>
          <a:bodyPr wrap="square" anchor="t">
            <a:noAutofit/>
          </a:bodyPr>
          <a:lstStyle>
            <a:lvl1pPr marL="0" indent="0" rtl="0">
              <a:buNone/>
              <a:defRPr sz="1600" b="1">
                <a:solidFill>
                  <a:schemeClr val="bg2"/>
                </a:solidFill>
              </a:defRPr>
            </a:lvl1pPr>
            <a:lvl2pPr marL="0" indent="0" rtl="0">
              <a:buNone/>
              <a:defRPr/>
            </a:lvl2pPr>
            <a:lvl3pPr marL="180000" rtl="0">
              <a:defRPr/>
            </a:lvl3pPr>
            <a:lvl4pPr marL="360000" rtl="0">
              <a:defRPr/>
            </a:lvl4pPr>
            <a:lvl5pPr marL="360000">
              <a:defRPr/>
            </a:lvl5pPr>
            <a:lvl6pPr marL="360000">
              <a:defRPr/>
            </a:lvl6pPr>
            <a:lvl7pPr marL="360000">
              <a:defRPr/>
            </a:lvl7pPr>
            <a:lvl8pPr marL="360000">
              <a:defRPr/>
            </a:lvl8pPr>
            <a:lvl9pPr marL="360000">
              <a:defRPr/>
            </a:lvl9pPr>
          </a:lstStyle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4960B48B-231E-B820-C53F-9652FE909E8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082603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6C4066C8-6477-9DA0-1000-4524BC2A282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445088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6FB03C1E-57A5-8045-7643-D5E980E195B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7815147" y="1250950"/>
            <a:ext cx="1187453" cy="118745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C8A670A-37C6-62E1-9C41-E42C56842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230321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9A4F6B-763B-536A-459F-2B7D36335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254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9A4F6B-763B-536A-459F-2B7D36335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558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323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430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0499" y="352424"/>
            <a:ext cx="4919361" cy="4919361"/>
          </a:xfrm>
          <a:prstGeom prst="ellipse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1663" y="1454425"/>
            <a:ext cx="6337300" cy="437236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71663" y="4032250"/>
            <a:ext cx="6337300" cy="2682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2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F5B3BB-9BDC-3B2B-5CC9-8B8E213357F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6218CF-39EC-458E-4992-5E192D136E3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32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248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7571B5-D68E-B8BF-D434-D19213E2D9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276600" cy="4419600"/>
          </a:xfrm>
          <a:prstGeom prst="rect">
            <a:avLst/>
          </a:pr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664638" y="1254384"/>
            <a:ext cx="3960000" cy="3960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7502" y="1454425"/>
            <a:ext cx="5735786" cy="437236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7502" y="4032250"/>
            <a:ext cx="5735786" cy="2682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2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C4C4689-5F69-F1FB-C79A-FDAE5C7C1D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D9E0148-DAEB-16A5-6611-F9EC199F1D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CC07426-04FD-0768-7944-9939C153970E}"/>
              </a:ext>
            </a:extLst>
          </p:cNvPr>
          <p:cNvSpPr/>
          <p:nvPr userDrawn="1"/>
        </p:nvSpPr>
        <p:spPr bwMode="gray">
          <a:xfrm>
            <a:off x="-1619250" y="0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857395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  <p15:guide id="6" pos="295">
          <p15:clr>
            <a:srgbClr val="F26B43"/>
          </p15:clr>
        </p15:guide>
        <p15:guide id="7" pos="2064" userDrawn="1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– 4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025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0" y="3735160"/>
            <a:ext cx="2107939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5457" y="3735160"/>
            <a:ext cx="2107939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0402" y="3735160"/>
            <a:ext cx="2107939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0" y="3349638"/>
            <a:ext cx="2107939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55457" y="3349638"/>
            <a:ext cx="2107939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0402" y="3349638"/>
            <a:ext cx="2107939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ADAF978-4354-9093-30B4-A282E82BA7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85348" y="3349638"/>
            <a:ext cx="2107939" cy="201274"/>
          </a:xfrm>
        </p:spPr>
        <p:txBody>
          <a:bodyPr wrap="square" anchor="b">
            <a:spAutoFit/>
          </a:bodyPr>
          <a:lstStyle>
            <a:lvl1pPr rtl="0"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AB828C-FBCC-7C30-B221-E2157397C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85348" y="3735159"/>
            <a:ext cx="2107939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4D7F761-651A-0F48-5960-5DE84285B1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0331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5788CDA-42F7-1A4E-9336-7835E4AF91B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55458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182A5DD-C6AB-7CBE-C9D7-14EAEC57C9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0403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7F96E6A5-46AD-7E76-4AC4-35E6482FD6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85349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4960B48B-231E-B820-C53F-9652FE909E8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90513" y="1647823"/>
            <a:ext cx="2104945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6C4066C8-6477-9DA0-1000-4524BC2A282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755458" y="1647823"/>
            <a:ext cx="2104945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6FB03C1E-57A5-8045-7643-D5E980E195B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5220403" y="1647823"/>
            <a:ext cx="2104945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7FD5F232-DCC3-742D-08F2-3E949CC6C0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85349" y="1647823"/>
            <a:ext cx="2104945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303B0D-8D5F-7CB2-890E-FDC508CA55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244494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– 6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E44D2B5-8FBB-08C8-ED09-567AC9196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91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2B5-8FBB-08C8-ED09-567AC9196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02CF7D-1829-45E8-B420-1DA84BD94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B3FBD-1E59-4C1C-D276-37811D3004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E60B0-4B6F-150C-D4C4-742AD6BF41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331" y="3735160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277D06-AA95-ED88-D3B9-8D9528DE9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02324" y="3735160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9418F3B-850A-6E61-A091-C27730CE7D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14317" y="3735160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000"/>
            </a:lvl2pPr>
            <a:lvl3pPr marL="0" indent="0" rtl="0">
              <a:spcBef>
                <a:spcPts val="0"/>
              </a:spcBef>
              <a:buNone/>
              <a:defRPr sz="1000"/>
            </a:lvl3pPr>
            <a:lvl4pPr marL="0" indent="0" rtl="0">
              <a:spcBef>
                <a:spcPts val="0"/>
              </a:spcBef>
              <a:buNone/>
              <a:defRPr sz="1000"/>
            </a:lvl4pPr>
            <a:lvl5pPr marL="0" indent="0" rtl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CA6858C-0F3F-69CD-2486-3B3FF5B0C4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31" y="3349638"/>
            <a:ext cx="1440000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3114E36-40F5-520F-F976-E64E3CFDC4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02324" y="3349638"/>
            <a:ext cx="1440000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6FCBDF-C189-6410-CE91-B9BE5B396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4317" y="3349638"/>
            <a:ext cx="1440000" cy="201274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2A93B5B-86CF-3237-D855-F4E2194B4B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26310" y="3349638"/>
            <a:ext cx="1440000" cy="201274"/>
          </a:xfrm>
        </p:spPr>
        <p:txBody>
          <a:bodyPr wrap="square" anchor="b">
            <a:spAutoFit/>
          </a:bodyPr>
          <a:lstStyle>
            <a:lvl1pPr rtl="0"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BBCAD96-50E1-D41F-49D5-2AB432349E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26310" y="3735160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651D0A-E290-5B32-D9D2-C262ACA43A9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8303" y="3349638"/>
            <a:ext cx="1440000" cy="201274"/>
          </a:xfrm>
        </p:spPr>
        <p:txBody>
          <a:bodyPr wrap="square" anchor="b">
            <a:spAutoFit/>
          </a:bodyPr>
          <a:lstStyle>
            <a:lvl1pPr rtl="0"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BA7C13E-8799-2096-5080-D222C51753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38303" y="3735160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ADAF978-4354-9093-30B4-A282E82BA7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0294" y="3349638"/>
            <a:ext cx="1440000" cy="201274"/>
          </a:xfrm>
        </p:spPr>
        <p:txBody>
          <a:bodyPr wrap="square" anchor="b">
            <a:spAutoFit/>
          </a:bodyPr>
          <a:lstStyle>
            <a:lvl1pPr rtl="0"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AB828C-FBCC-7C30-B221-E2157397C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0294" y="3735159"/>
            <a:ext cx="1440000" cy="684441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4D7F761-651A-0F48-5960-5DE84285B1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0331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5788CDA-42F7-1A4E-9336-7835E4AF91B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02324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182A5DD-C6AB-7CBE-C9D7-14EAEC57C9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4317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C4CA7A6E-C291-75B3-8BC6-6B25A73B552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26310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CBA0B5C-4CA1-CD1D-F155-B33CA970C38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38303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7F96E6A5-46AD-7E76-4AC4-35E6482FD6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50294" y="3609517"/>
            <a:ext cx="612000" cy="18000"/>
          </a:xfrm>
          <a:solidFill>
            <a:schemeClr val="accent1"/>
          </a:solidFill>
        </p:spPr>
        <p:txBody>
          <a:bodyPr wrap="square">
            <a:noAutofit/>
          </a:bodyPr>
          <a:lstStyle>
            <a:lvl1pPr rtl="0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4960B48B-231E-B820-C53F-9652FE909E8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90513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6C4066C8-6477-9DA0-1000-4524BC2A282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902469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6FB03C1E-57A5-8045-7643-D5E980E195B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514425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5568E3BC-EBF5-6D95-6671-DFF711EB300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26381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D49288E9-3666-1A0B-F728-654D75E8782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38337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7FD5F232-DCC3-742D-08F2-3E949CC6C0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350294" y="1647823"/>
            <a:ext cx="1440000" cy="1584000"/>
          </a:xfrm>
          <a:solidFill>
            <a:schemeClr val="tx2"/>
          </a:solidFill>
        </p:spPr>
        <p:txBody>
          <a:bodyPr anchor="ctr"/>
          <a:lstStyle>
            <a:lvl1pPr algn="ctr" rtl="0">
              <a:defRPr sz="1000"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1D5D4C-4B55-C1AE-6A12-BE82FAD07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73376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67F5579-5327-4A9B-4F11-41BA36209B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1743" t="9676" r="7182" b="14187"/>
          <a:stretch/>
        </p:blipFill>
        <p:spPr>
          <a:xfrm>
            <a:off x="846256" y="295897"/>
            <a:ext cx="5181364" cy="5402446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774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0502917F-F36E-CE1B-99E9-8B5CD42ED6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invGray">
          <a:xfrm>
            <a:off x="1974926" y="431720"/>
            <a:ext cx="7818362" cy="51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90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CB6684BF-3549-B51E-BE0D-192BFF7BF94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19699" y="0"/>
            <a:ext cx="4860925" cy="5670550"/>
          </a:xfrm>
          <a:custGeom>
            <a:avLst/>
            <a:gdLst>
              <a:gd name="connsiteX0" fmla="*/ 0 w 4860925"/>
              <a:gd name="connsiteY0" fmla="*/ 0 h 5670550"/>
              <a:gd name="connsiteX1" fmla="*/ 2278064 w 4860925"/>
              <a:gd name="connsiteY1" fmla="*/ 0 h 5670550"/>
              <a:gd name="connsiteX2" fmla="*/ 3384551 w 4860925"/>
              <a:gd name="connsiteY2" fmla="*/ 0 h 5670550"/>
              <a:gd name="connsiteX3" fmla="*/ 3384551 w 4860925"/>
              <a:gd name="connsiteY3" fmla="*/ 1250950 h 5670550"/>
              <a:gd name="connsiteX4" fmla="*/ 4573589 w 4860925"/>
              <a:gd name="connsiteY4" fmla="*/ 1250950 h 5670550"/>
              <a:gd name="connsiteX5" fmla="*/ 4573589 w 4860925"/>
              <a:gd name="connsiteY5" fmla="*/ 0 h 5670550"/>
              <a:gd name="connsiteX6" fmla="*/ 4860925 w 4860925"/>
              <a:gd name="connsiteY6" fmla="*/ 0 h 5670550"/>
              <a:gd name="connsiteX7" fmla="*/ 4860925 w 4860925"/>
              <a:gd name="connsiteY7" fmla="*/ 5670550 h 5670550"/>
              <a:gd name="connsiteX8" fmla="*/ 2278064 w 4860925"/>
              <a:gd name="connsiteY8" fmla="*/ 5670550 h 5670550"/>
              <a:gd name="connsiteX9" fmla="*/ 0 w 4860925"/>
              <a:gd name="connsiteY9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60925" h="5670550">
                <a:moveTo>
                  <a:pt x="0" y="0"/>
                </a:moveTo>
                <a:lnTo>
                  <a:pt x="2278064" y="0"/>
                </a:lnTo>
                <a:lnTo>
                  <a:pt x="3384551" y="0"/>
                </a:lnTo>
                <a:lnTo>
                  <a:pt x="3384551" y="1250950"/>
                </a:lnTo>
                <a:lnTo>
                  <a:pt x="4573589" y="1250950"/>
                </a:lnTo>
                <a:lnTo>
                  <a:pt x="4573589" y="0"/>
                </a:lnTo>
                <a:lnTo>
                  <a:pt x="4860925" y="0"/>
                </a:lnTo>
                <a:lnTo>
                  <a:pt x="4860925" y="5670550"/>
                </a:lnTo>
                <a:lnTo>
                  <a:pt x="2278064" y="5670550"/>
                </a:lnTo>
                <a:lnTo>
                  <a:pt x="0" y="567055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04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/>
            </a:lvl1pPr>
          </a:lstStyle>
          <a:p>
            <a:r>
              <a:rPr lang="en-US"/>
              <a:t>Edit master title format with max. three lines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3060312" y="1255713"/>
            <a:ext cx="3960000" cy="39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EA7F100-6202-FE9B-4AD2-1E4569B3178A}"/>
              </a:ext>
            </a:extLst>
          </p:cNvPr>
          <p:cNvSpPr/>
          <p:nvPr userDrawn="1"/>
        </p:nvSpPr>
        <p:spPr bwMode="gray">
          <a:xfrm>
            <a:off x="10279061" y="-6879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624684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  <p15:guide id="5" pos="5420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Fullscreen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33277F0-6BE1-7564-EB96-D080B50049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10080624" cy="5670550"/>
          </a:xfrm>
          <a:custGeom>
            <a:avLst/>
            <a:gdLst>
              <a:gd name="connsiteX0" fmla="*/ 0 w 10080624"/>
              <a:gd name="connsiteY0" fmla="*/ 0 h 5670550"/>
              <a:gd name="connsiteX1" fmla="*/ 8604249 w 10080624"/>
              <a:gd name="connsiteY1" fmla="*/ 0 h 5670550"/>
              <a:gd name="connsiteX2" fmla="*/ 8604249 w 10080624"/>
              <a:gd name="connsiteY2" fmla="*/ 1250950 h 5670550"/>
              <a:gd name="connsiteX3" fmla="*/ 9793287 w 10080624"/>
              <a:gd name="connsiteY3" fmla="*/ 1250950 h 5670550"/>
              <a:gd name="connsiteX4" fmla="*/ 9793287 w 10080624"/>
              <a:gd name="connsiteY4" fmla="*/ 0 h 5670550"/>
              <a:gd name="connsiteX5" fmla="*/ 10080624 w 10080624"/>
              <a:gd name="connsiteY5" fmla="*/ 0 h 5670550"/>
              <a:gd name="connsiteX6" fmla="*/ 10080624 w 10080624"/>
              <a:gd name="connsiteY6" fmla="*/ 5670550 h 5670550"/>
              <a:gd name="connsiteX7" fmla="*/ 0 w 10080624"/>
              <a:gd name="connsiteY7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4" h="5670550">
                <a:moveTo>
                  <a:pt x="0" y="0"/>
                </a:moveTo>
                <a:lnTo>
                  <a:pt x="8604249" y="0"/>
                </a:lnTo>
                <a:lnTo>
                  <a:pt x="8604249" y="1250950"/>
                </a:lnTo>
                <a:lnTo>
                  <a:pt x="9793287" y="1250950"/>
                </a:lnTo>
                <a:lnTo>
                  <a:pt x="9793287" y="0"/>
                </a:lnTo>
                <a:lnTo>
                  <a:pt x="10080624" y="0"/>
                </a:lnTo>
                <a:lnTo>
                  <a:pt x="10080624" y="5670550"/>
                </a:lnTo>
                <a:lnTo>
                  <a:pt x="0" y="567055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 rot="10800000">
            <a:off x="190499" y="352424"/>
            <a:ext cx="4919361" cy="4919361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385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mas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BADD9320-3271-5EA8-5D1D-23205C3CA3D8}"/>
              </a:ext>
            </a:extLst>
          </p:cNvPr>
          <p:cNvSpPr/>
          <p:nvPr userDrawn="1"/>
        </p:nvSpPr>
        <p:spPr bwMode="gray">
          <a:xfrm>
            <a:off x="-1619250" y="0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256147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 userDrawn="1">
          <p15:clr>
            <a:srgbClr val="F26B43"/>
          </p15:clr>
        </p15:guide>
        <p15:guide id="5" pos="5420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(without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42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2">
            <a:extLst>
              <a:ext uri="{FF2B5EF4-FFF2-40B4-BE49-F238E27FC236}">
                <a16:creationId xmlns:a16="http://schemas.microsoft.com/office/drawing/2014/main" id="{3FDCD6F2-001C-9CB7-8A0C-656D8FBF12B4}"/>
              </a:ext>
            </a:extLst>
          </p:cNvPr>
          <p:cNvSpPr>
            <a:spLocks/>
          </p:cNvSpPr>
          <p:nvPr userDrawn="1"/>
        </p:nvSpPr>
        <p:spPr bwMode="gray">
          <a:xfrm rot="10800000">
            <a:off x="190500" y="352423"/>
            <a:ext cx="4919360" cy="4920370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/>
          <a:p>
            <a:pPr lvl="0" rtl="0">
              <a:spcBef>
                <a:spcPts val="0"/>
              </a:spcBef>
            </a:pPr>
            <a:endParaRPr lang="en-US" sz="100">
              <a:solidFill>
                <a:schemeClr val="tx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gray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431B85-B4F2-7D1C-200A-BC5922531632}"/>
              </a:ext>
            </a:extLst>
          </p:cNvPr>
          <p:cNvSpPr/>
          <p:nvPr userDrawn="1"/>
        </p:nvSpPr>
        <p:spPr bwMode="gray">
          <a:xfrm>
            <a:off x="8604250" y="0"/>
            <a:ext cx="1189038" cy="12509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algn="l" rtl="0"/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mas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0353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 userDrawn="1">
          <p15:clr>
            <a:srgbClr val="F26B43"/>
          </p15:clr>
        </p15:guide>
        <p15:guide id="5" pos="542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– Dark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>
            <a:extLst>
              <a:ext uri="{FF2B5EF4-FFF2-40B4-BE49-F238E27FC236}">
                <a16:creationId xmlns:a16="http://schemas.microsoft.com/office/drawing/2014/main" id="{4A2565A4-9C1D-1778-1A20-5D0A98C4D47C}"/>
              </a:ext>
            </a:extLst>
          </p:cNvPr>
          <p:cNvSpPr/>
          <p:nvPr userDrawn="1"/>
        </p:nvSpPr>
        <p:spPr bwMode="gray">
          <a:xfrm>
            <a:off x="8604250" y="0"/>
            <a:ext cx="1189038" cy="12509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7571B5-D68E-B8BF-D434-D19213E2D9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40313" y="0"/>
            <a:ext cx="5040313" cy="5670550"/>
          </a:xfrm>
          <a:custGeom>
            <a:avLst/>
            <a:gdLst>
              <a:gd name="connsiteX0" fmla="*/ 0 w 5040313"/>
              <a:gd name="connsiteY0" fmla="*/ 0 h 5670550"/>
              <a:gd name="connsiteX1" fmla="*/ 3563938 w 5040313"/>
              <a:gd name="connsiteY1" fmla="*/ 0 h 5670550"/>
              <a:gd name="connsiteX2" fmla="*/ 3563938 w 5040313"/>
              <a:gd name="connsiteY2" fmla="*/ 1250950 h 5670550"/>
              <a:gd name="connsiteX3" fmla="*/ 4752976 w 5040313"/>
              <a:gd name="connsiteY3" fmla="*/ 1250950 h 5670550"/>
              <a:gd name="connsiteX4" fmla="*/ 4752976 w 5040313"/>
              <a:gd name="connsiteY4" fmla="*/ 0 h 5670550"/>
              <a:gd name="connsiteX5" fmla="*/ 5040313 w 5040313"/>
              <a:gd name="connsiteY5" fmla="*/ 0 h 5670550"/>
              <a:gd name="connsiteX6" fmla="*/ 5040313 w 5040313"/>
              <a:gd name="connsiteY6" fmla="*/ 5670550 h 5670550"/>
              <a:gd name="connsiteX7" fmla="*/ 0 w 5040313"/>
              <a:gd name="connsiteY7" fmla="*/ 5670550 h 5670550"/>
              <a:gd name="connsiteX8" fmla="*/ 0 w 5040313"/>
              <a:gd name="connsiteY8" fmla="*/ 5669768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0313" h="5670550">
                <a:moveTo>
                  <a:pt x="0" y="0"/>
                </a:moveTo>
                <a:lnTo>
                  <a:pt x="3563938" y="0"/>
                </a:lnTo>
                <a:lnTo>
                  <a:pt x="3563938" y="1250950"/>
                </a:lnTo>
                <a:lnTo>
                  <a:pt x="4752976" y="1250950"/>
                </a:lnTo>
                <a:lnTo>
                  <a:pt x="4752976" y="0"/>
                </a:lnTo>
                <a:lnTo>
                  <a:pt x="5040313" y="0"/>
                </a:lnTo>
                <a:lnTo>
                  <a:pt x="5040313" y="5670550"/>
                </a:lnTo>
                <a:lnTo>
                  <a:pt x="0" y="5670550"/>
                </a:lnTo>
                <a:lnTo>
                  <a:pt x="0" y="566976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 rot="10800000">
            <a:off x="470844" y="1250950"/>
            <a:ext cx="3960000" cy="39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876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chap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2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51C9D1F5-7A1C-DA5B-EB8D-1CD9A403A087}"/>
              </a:ext>
            </a:extLst>
          </p:cNvPr>
          <p:cNvSpPr/>
          <p:nvPr userDrawn="1"/>
        </p:nvSpPr>
        <p:spPr bwMode="gray">
          <a:xfrm>
            <a:off x="10417173" y="3175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6255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  <p15:guide id="5" pos="5420">
          <p15:clr>
            <a:srgbClr val="F26B43"/>
          </p15:clr>
        </p15:guide>
        <p15:guide id="6" pos="295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– Dark 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0D2C056-7874-59D7-2C74-4959A0852B1C}"/>
              </a:ext>
            </a:extLst>
          </p:cNvPr>
          <p:cNvSpPr/>
          <p:nvPr userDrawn="1"/>
        </p:nvSpPr>
        <p:spPr bwMode="gray">
          <a:xfrm>
            <a:off x="8604250" y="0"/>
            <a:ext cx="1189038" cy="12509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FF01FD0-3614-1136-C7AA-14E5AA34ED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40313" y="0"/>
            <a:ext cx="5040313" cy="5670550"/>
          </a:xfrm>
          <a:custGeom>
            <a:avLst/>
            <a:gdLst>
              <a:gd name="connsiteX0" fmla="*/ 0 w 5040313"/>
              <a:gd name="connsiteY0" fmla="*/ 0 h 5670550"/>
              <a:gd name="connsiteX1" fmla="*/ 3563938 w 5040313"/>
              <a:gd name="connsiteY1" fmla="*/ 0 h 5670550"/>
              <a:gd name="connsiteX2" fmla="*/ 3563938 w 5040313"/>
              <a:gd name="connsiteY2" fmla="*/ 1250950 h 5670550"/>
              <a:gd name="connsiteX3" fmla="*/ 4752976 w 5040313"/>
              <a:gd name="connsiteY3" fmla="*/ 1250950 h 5670550"/>
              <a:gd name="connsiteX4" fmla="*/ 4752976 w 5040313"/>
              <a:gd name="connsiteY4" fmla="*/ 0 h 5670550"/>
              <a:gd name="connsiteX5" fmla="*/ 5040313 w 5040313"/>
              <a:gd name="connsiteY5" fmla="*/ 0 h 5670550"/>
              <a:gd name="connsiteX6" fmla="*/ 5040313 w 5040313"/>
              <a:gd name="connsiteY6" fmla="*/ 5670550 h 5670550"/>
              <a:gd name="connsiteX7" fmla="*/ 0 w 5040313"/>
              <a:gd name="connsiteY7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40313" h="5670550">
                <a:moveTo>
                  <a:pt x="0" y="0"/>
                </a:moveTo>
                <a:lnTo>
                  <a:pt x="3563938" y="0"/>
                </a:lnTo>
                <a:lnTo>
                  <a:pt x="3563938" y="1250950"/>
                </a:lnTo>
                <a:lnTo>
                  <a:pt x="4752976" y="1250950"/>
                </a:lnTo>
                <a:lnTo>
                  <a:pt x="4752976" y="0"/>
                </a:lnTo>
                <a:lnTo>
                  <a:pt x="5040313" y="0"/>
                </a:lnTo>
                <a:lnTo>
                  <a:pt x="5040313" y="5670550"/>
                </a:lnTo>
                <a:lnTo>
                  <a:pt x="0" y="567055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080000" tIns="1080000" rIns="1080000" bIns="108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 rot="10800000">
            <a:off x="190499" y="352424"/>
            <a:ext cx="4919361" cy="4919361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166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13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chap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13" y="3236651"/>
            <a:ext cx="3563937" cy="2012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2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9E50E36C-6C5C-C0A8-36B5-E66599ED1F0C}"/>
              </a:ext>
            </a:extLst>
          </p:cNvPr>
          <p:cNvSpPr/>
          <p:nvPr userDrawn="1"/>
        </p:nvSpPr>
        <p:spPr bwMode="gray">
          <a:xfrm>
            <a:off x="10417173" y="3175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32722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  <p15:guide id="5" pos="542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–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BC31A53-848D-8180-FC39-5D5FD0018E01}"/>
              </a:ext>
            </a:extLst>
          </p:cNvPr>
          <p:cNvSpPr/>
          <p:nvPr userDrawn="1"/>
        </p:nvSpPr>
        <p:spPr bwMode="gray">
          <a:xfrm>
            <a:off x="0" y="0"/>
            <a:ext cx="3455988" cy="56697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A2565A4-9C1D-1778-1A20-5D0A98C4D47C}"/>
              </a:ext>
            </a:extLst>
          </p:cNvPr>
          <p:cNvSpPr/>
          <p:nvPr userDrawn="1"/>
        </p:nvSpPr>
        <p:spPr bwMode="gray">
          <a:xfrm>
            <a:off x="8604250" y="0"/>
            <a:ext cx="1189038" cy="12509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CA34562-457B-51D5-022A-DA1EB6402378}"/>
              </a:ext>
            </a:extLst>
          </p:cNvPr>
          <p:cNvSpPr/>
          <p:nvPr userDrawn="1"/>
        </p:nvSpPr>
        <p:spPr bwMode="white">
          <a:xfrm>
            <a:off x="3617912" y="5195332"/>
            <a:ext cx="2844800" cy="4744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indent="-180000" algn="l" defTabSz="756026" rtl="0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593F2C4-3B54-D041-C4B1-E28568F31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 rot="10800000">
            <a:off x="3060700" y="1250950"/>
            <a:ext cx="3960000" cy="39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464A85-7777-76E6-014B-0C6A1D076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99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4A85-7777-76E6-014B-0C6A1D076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A593F8E0-25BC-358B-E574-374727800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8150" y="1454425"/>
            <a:ext cx="3563937" cy="1385187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rtl="0">
              <a:defRPr sz="27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chapter title format with max. three lin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8C3CBD4-078E-28AF-7366-A2394B946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48150" y="3236651"/>
            <a:ext cx="3563937" cy="20127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2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forma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96DA67C-0252-96A2-404D-D4087D476037}"/>
              </a:ext>
            </a:extLst>
          </p:cNvPr>
          <p:cNvGrpSpPr>
            <a:grpSpLocks/>
          </p:cNvGrpSpPr>
          <p:nvPr userDrawn="1"/>
        </p:nvGrpSpPr>
        <p:grpSpPr>
          <a:xfrm>
            <a:off x="8743110" y="221721"/>
            <a:ext cx="911318" cy="830648"/>
            <a:chOff x="8693391" y="161252"/>
            <a:chExt cx="1044000" cy="95158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6C6C13-31C3-333E-D7B4-9A6B126986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38963" y="161252"/>
              <a:ext cx="849118" cy="801945"/>
            </a:xfrm>
            <a:prstGeom prst="rect">
              <a:avLst/>
            </a:prstGeom>
          </p:spPr>
        </p:pic>
        <p:sp>
          <p:nvSpPr>
            <p:cNvPr id="18" name="Freihandform: Form 34">
              <a:extLst>
                <a:ext uri="{FF2B5EF4-FFF2-40B4-BE49-F238E27FC236}">
                  <a16:creationId xmlns:a16="http://schemas.microsoft.com/office/drawing/2014/main" id="{8B759277-3C1E-34D6-69E6-58927E42398D}"/>
                </a:ext>
              </a:extLst>
            </p:cNvPr>
            <p:cNvSpPr/>
            <p:nvPr userDrawn="1"/>
          </p:nvSpPr>
          <p:spPr>
            <a:xfrm>
              <a:off x="8693391" y="931186"/>
              <a:ext cx="1044000" cy="181652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EC7056B-B953-2D94-8699-16C56D2599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8312" y="722313"/>
            <a:ext cx="2592387" cy="2308324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6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13102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1">
          <p15:clr>
            <a:srgbClr val="F26B43"/>
          </p15:clr>
        </p15:guide>
        <p15:guide id="5" pos="5420">
          <p15:clr>
            <a:srgbClr val="F26B43"/>
          </p15:clr>
        </p15:guide>
        <p15:guide id="6" pos="295">
          <p15:clr>
            <a:srgbClr val="F26B43"/>
          </p15:clr>
        </p15:guide>
        <p15:guide id="7" pos="192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10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DF724B1-E986-71F6-0EA1-C3F587CDD21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3455988" cy="5670550"/>
          </a:xfrm>
          <a:solidFill>
            <a:schemeClr val="tx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Insert image by clicking </a:t>
            </a:r>
            <a:br>
              <a:rPr lang="en-US"/>
            </a:br>
            <a:r>
              <a:rPr lang="en-US"/>
              <a:t>on the icon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BE63DDFC-A2A5-D4CE-CFA9-406ADC692E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 hasCustomPrompt="1"/>
          </p:nvPr>
        </p:nvSpPr>
        <p:spPr>
          <a:xfrm flipH="1">
            <a:off x="2280849" y="1255713"/>
            <a:ext cx="3960000" cy="396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rtl="0">
              <a:spcBef>
                <a:spcPts val="0"/>
              </a:spcBef>
              <a:defRPr sz="100"/>
            </a:lvl1pPr>
            <a:lvl2pPr>
              <a:spcBef>
                <a:spcPts val="0"/>
              </a:spcBef>
              <a:defRPr sz="100"/>
            </a:lvl2pPr>
            <a:lvl3pPr>
              <a:spcBef>
                <a:spcPts val="0"/>
              </a:spcBef>
              <a:defRPr sz="100"/>
            </a:lvl3pPr>
            <a:lvl4pPr>
              <a:spcBef>
                <a:spcPts val="0"/>
              </a:spcBef>
              <a:defRPr sz="100"/>
            </a:lvl4pPr>
            <a:lvl5pPr>
              <a:spcBef>
                <a:spcPts val="0"/>
              </a:spcBef>
              <a:defRPr sz="100"/>
            </a:lvl5pPr>
            <a:lvl6pPr>
              <a:spcBef>
                <a:spcPts val="0"/>
              </a:spcBef>
              <a:defRPr sz="100"/>
            </a:lvl6pPr>
            <a:lvl7pPr>
              <a:spcBef>
                <a:spcPts val="0"/>
              </a:spcBef>
              <a:defRPr sz="100"/>
            </a:lvl7pPr>
            <a:lvl8pPr>
              <a:spcBef>
                <a:spcPts val="0"/>
              </a:spcBef>
              <a:defRPr sz="100"/>
            </a:lvl8pPr>
            <a:lvl9pPr>
              <a:spcBef>
                <a:spcPts val="0"/>
              </a:spcBef>
              <a:defRPr sz="100"/>
            </a:lvl9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5C0BE6-BC82-E51D-6057-ECBC14F3B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02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C0BE6-BC82-E51D-6057-ECBC14F3B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21F22-E108-A9F7-9DB9-8786A54407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149" y="1606065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8F121C-B1B6-E743-F6C2-26AE729ABF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0149" y="2381489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B232F34-E83E-7AA4-95F4-6DF7864049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149" y="3156913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8A85509-B2FC-980C-76C6-59FFAEE3F4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149" y="3932337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FFDBB5F-D7CF-3CA7-533A-4C8E3E38A8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0149" y="4707763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68CDEFD-277A-4507-62CA-ECE509162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23150" y="1606065"/>
            <a:ext cx="2088000" cy="504000"/>
          </a:xfrm>
        </p:spPr>
        <p:txBody>
          <a:bodyPr anchor="t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85F64A9-5415-C4C0-185C-F6AC608F1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48149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B51B2E3D-19F3-E614-A5B8-F5DE10108E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149" y="233576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0C2948E-6E4A-5538-FCAC-5F592DB0DA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48149" y="311119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0AE81F2-78F5-CDC5-8586-054244F03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8149" y="388661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17C45FB-002E-EB92-CD96-9AE077AFCE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8149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7BDA1F86-029B-EA4B-318E-F537DC7226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91150" y="1560345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marL="0" indent="0" algn="l" rtl="0">
              <a:buNone/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AB7D3CD-C4EB-63BA-3C43-41773A08BE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8149" y="726787"/>
            <a:ext cx="3960813" cy="437236"/>
          </a:xfrm>
        </p:spPr>
        <p:txBody>
          <a:bodyPr vert="horz"/>
          <a:lstStyle>
            <a:lvl1pPr rtl="0">
              <a:defRPr sz="27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F9350DA-609B-CFD2-9382-ED3E9509B5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91150" y="2335769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3D5F01A5-4468-6CF5-63AD-2EA5DC8CEB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23150" y="2381489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88F73686-060B-315E-23F9-79C153D7F9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91150" y="311119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B99A181-0006-3C24-71E6-D626FD2AF0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23150" y="3156913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94A6739-927C-306C-0A05-F9D80B7A4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1150" y="3886617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E41B383-1B55-D171-7A9B-8448B51E9E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23150" y="3932337"/>
            <a:ext cx="2088000" cy="504000"/>
          </a:xfrm>
        </p:spPr>
        <p:txBody>
          <a:bodyPr anchor="t"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6CFA8111-3ED9-083E-78BB-CB81B79DCA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1150" y="4662043"/>
            <a:ext cx="396000" cy="360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/>
          <a:lstStyle>
            <a:lvl1pPr algn="l" rtl="0">
              <a:defRPr sz="21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E2A6B465-CBB6-1DAA-D016-892A1DA550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23150" y="4707763"/>
            <a:ext cx="2088000" cy="504000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/>
              <a:t>Edit master text forma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FD507A8-80DA-3BDB-9D7A-E3BF84781232}"/>
              </a:ext>
            </a:extLst>
          </p:cNvPr>
          <p:cNvSpPr/>
          <p:nvPr userDrawn="1"/>
        </p:nvSpPr>
        <p:spPr bwMode="gray">
          <a:xfrm>
            <a:off x="-1619250" y="0"/>
            <a:ext cx="1403350" cy="12509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lvl="0" rtl="0"/>
            <a:r>
              <a:rPr lang="en-US" sz="900" b="1"/>
              <a:t>Move image </a:t>
            </a:r>
            <a:br>
              <a:rPr lang="en-US" sz="900" b="1"/>
            </a:br>
            <a:r>
              <a:rPr lang="en-US" sz="900" b="1"/>
              <a:t>to the Back: </a:t>
            </a:r>
            <a:br>
              <a:rPr lang="en-US" sz="900" b="1"/>
            </a:br>
            <a:r>
              <a:rPr lang="en-US" sz="900" noProof="0"/>
              <a:t>Right-click on the image and select “Arrange” </a:t>
            </a:r>
            <a:br>
              <a:rPr lang="en-US" sz="900" noProof="0"/>
            </a:br>
            <a:r>
              <a:rPr lang="en-US" sz="900" noProof="0">
                <a:sym typeface="Wingdings" panose="05000000000000000000" pitchFamily="2" charset="2"/>
              </a:rPr>
              <a:t> </a:t>
            </a:r>
            <a:r>
              <a:rPr lang="en-US" sz="900" noProof="0"/>
              <a:t>“Send to Back”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470371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40D2E74-5A7D-F617-FDD6-B6DC8356C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1278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1" imgW="344" imgH="345" progId="TCLayout.ActiveDocument.1">
                  <p:embed/>
                </p:oleObj>
              </mc:Choice>
              <mc:Fallback>
                <p:oleObj name="think-cell Folie" r:id="rId41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D2E74-5A7D-F617-FDD6-B6DC8356C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3661" y="5357383"/>
            <a:ext cx="4536652" cy="1174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algn="l" defTabSz="457200" rtl="0" eaLnBrk="1" latinLnBrk="0" hangingPunct="1">
              <a:defRPr lang="en-US" sz="7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0805" y="5357383"/>
            <a:ext cx="216000" cy="1174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rtl="0">
              <a:defRPr sz="700" b="1">
                <a:solidFill>
                  <a:schemeClr val="tx1"/>
                </a:solidFill>
              </a:defRPr>
            </a:lvl1pPr>
          </a:lstStyle>
          <a:p>
            <a:fld id="{2BB67E6B-5C27-4022-A7E2-6A768B77B0E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B72BB4-787F-7651-8F1B-F9C256B72EC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90331" y="1250950"/>
            <a:ext cx="9504000" cy="3960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forma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B92F32A-71AD-9675-B54C-01736D3D2F22}"/>
              </a:ext>
            </a:extLst>
          </p:cNvPr>
          <p:cNvGrpSpPr/>
          <p:nvPr userDrawn="1"/>
        </p:nvGrpSpPr>
        <p:grpSpPr>
          <a:xfrm>
            <a:off x="8586839" y="308521"/>
            <a:ext cx="1206449" cy="371957"/>
            <a:chOff x="8694788" y="122784"/>
            <a:chExt cx="1206449" cy="371957"/>
          </a:xfrm>
        </p:grpSpPr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B444AA7-28F1-6E86-2091-68BC886A05EB}"/>
                </a:ext>
              </a:extLst>
            </p:cNvPr>
            <p:cNvSpPr/>
            <p:nvPr/>
          </p:nvSpPr>
          <p:spPr>
            <a:xfrm>
              <a:off x="9109212" y="222443"/>
              <a:ext cx="792025" cy="137809"/>
            </a:xfrm>
            <a:custGeom>
              <a:avLst/>
              <a:gdLst>
                <a:gd name="connsiteX0" fmla="*/ 472059 w 3378708"/>
                <a:gd name="connsiteY0" fmla="*/ 210788 h 587883"/>
                <a:gd name="connsiteX1" fmla="*/ 472059 w 3378708"/>
                <a:gd name="connsiteY1" fmla="*/ 578453 h 587883"/>
                <a:gd name="connsiteX2" fmla="*/ 591026 w 3378708"/>
                <a:gd name="connsiteY2" fmla="*/ 578453 h 587883"/>
                <a:gd name="connsiteX3" fmla="*/ 591026 w 3378708"/>
                <a:gd name="connsiteY3" fmla="*/ 157829 h 587883"/>
                <a:gd name="connsiteX4" fmla="*/ 472059 w 3378708"/>
                <a:gd name="connsiteY4" fmla="*/ 210788 h 587883"/>
                <a:gd name="connsiteX5" fmla="*/ 267176 w 3378708"/>
                <a:gd name="connsiteY5" fmla="*/ 410623 h 587883"/>
                <a:gd name="connsiteX6" fmla="*/ 185261 w 3378708"/>
                <a:gd name="connsiteY6" fmla="*/ 491014 h 587883"/>
                <a:gd name="connsiteX7" fmla="*/ 119063 w 3378708"/>
                <a:gd name="connsiteY7" fmla="*/ 491014 h 587883"/>
                <a:gd name="connsiteX8" fmla="*/ 119063 w 3378708"/>
                <a:gd name="connsiteY8" fmla="*/ 329470 h 587883"/>
                <a:gd name="connsiteX9" fmla="*/ 188405 w 3378708"/>
                <a:gd name="connsiteY9" fmla="*/ 329470 h 587883"/>
                <a:gd name="connsiteX10" fmla="*/ 267176 w 3378708"/>
                <a:gd name="connsiteY10" fmla="*/ 410623 h 587883"/>
                <a:gd name="connsiteX11" fmla="*/ 260890 w 3378708"/>
                <a:gd name="connsiteY11" fmla="*/ 169450 h 587883"/>
                <a:gd name="connsiteX12" fmla="*/ 198596 w 3378708"/>
                <a:gd name="connsiteY12" fmla="*/ 241935 h 587883"/>
                <a:gd name="connsiteX13" fmla="*/ 118967 w 3378708"/>
                <a:gd name="connsiteY13" fmla="*/ 241935 h 587883"/>
                <a:gd name="connsiteX14" fmla="*/ 118967 w 3378708"/>
                <a:gd name="connsiteY14" fmla="*/ 96964 h 587883"/>
                <a:gd name="connsiteX15" fmla="*/ 192310 w 3378708"/>
                <a:gd name="connsiteY15" fmla="*/ 96964 h 587883"/>
                <a:gd name="connsiteX16" fmla="*/ 260890 w 3378708"/>
                <a:gd name="connsiteY16" fmla="*/ 169450 h 587883"/>
                <a:gd name="connsiteX17" fmla="*/ 279749 w 3378708"/>
                <a:gd name="connsiteY17" fmla="*/ 283750 h 587883"/>
                <a:gd name="connsiteX18" fmla="*/ 279749 w 3378708"/>
                <a:gd name="connsiteY18" fmla="*/ 282130 h 587883"/>
                <a:gd name="connsiteX19" fmla="*/ 376714 w 3378708"/>
                <a:gd name="connsiteY19" fmla="*/ 156781 h 587883"/>
                <a:gd name="connsiteX20" fmla="*/ 211169 w 3378708"/>
                <a:gd name="connsiteY20" fmla="*/ 9430 h 587883"/>
                <a:gd name="connsiteX21" fmla="*/ 0 w 3378708"/>
                <a:gd name="connsiteY21" fmla="*/ 9430 h 587883"/>
                <a:gd name="connsiteX22" fmla="*/ 0 w 3378708"/>
                <a:gd name="connsiteY22" fmla="*/ 578453 h 587883"/>
                <a:gd name="connsiteX23" fmla="*/ 210407 w 3378708"/>
                <a:gd name="connsiteY23" fmla="*/ 578453 h 587883"/>
                <a:gd name="connsiteX24" fmla="*/ 386144 w 3378708"/>
                <a:gd name="connsiteY24" fmla="*/ 427958 h 587883"/>
                <a:gd name="connsiteX25" fmla="*/ 279749 w 3378708"/>
                <a:gd name="connsiteY25" fmla="*/ 283750 h 587883"/>
                <a:gd name="connsiteX26" fmla="*/ 591026 w 3378708"/>
                <a:gd name="connsiteY26" fmla="*/ 86106 h 587883"/>
                <a:gd name="connsiteX27" fmla="*/ 591026 w 3378708"/>
                <a:gd name="connsiteY27" fmla="*/ 9430 h 587883"/>
                <a:gd name="connsiteX28" fmla="*/ 472059 w 3378708"/>
                <a:gd name="connsiteY28" fmla="*/ 9430 h 587883"/>
                <a:gd name="connsiteX29" fmla="*/ 472059 w 3378708"/>
                <a:gd name="connsiteY29" fmla="*/ 139065 h 587883"/>
                <a:gd name="connsiteX30" fmla="*/ 591026 w 3378708"/>
                <a:gd name="connsiteY30" fmla="*/ 86106 h 587883"/>
                <a:gd name="connsiteX31" fmla="*/ 701135 w 3378708"/>
                <a:gd name="connsiteY31" fmla="*/ 578453 h 587883"/>
                <a:gd name="connsiteX32" fmla="*/ 998220 w 3378708"/>
                <a:gd name="connsiteY32" fmla="*/ 578453 h 587883"/>
                <a:gd name="connsiteX33" fmla="*/ 998220 w 3378708"/>
                <a:gd name="connsiteY33" fmla="*/ 483870 h 587883"/>
                <a:gd name="connsiteX34" fmla="*/ 820103 w 3378708"/>
                <a:gd name="connsiteY34" fmla="*/ 483870 h 587883"/>
                <a:gd name="connsiteX35" fmla="*/ 820103 w 3378708"/>
                <a:gd name="connsiteY35" fmla="*/ 9430 h 587883"/>
                <a:gd name="connsiteX36" fmla="*/ 701135 w 3378708"/>
                <a:gd name="connsiteY36" fmla="*/ 9430 h 587883"/>
                <a:gd name="connsiteX37" fmla="*/ 701135 w 3378708"/>
                <a:gd name="connsiteY37" fmla="*/ 578453 h 587883"/>
                <a:gd name="connsiteX38" fmla="*/ 1159002 w 3378708"/>
                <a:gd name="connsiteY38" fmla="*/ 96964 h 587883"/>
                <a:gd name="connsiteX39" fmla="*/ 1335500 w 3378708"/>
                <a:gd name="connsiteY39" fmla="*/ 96964 h 587883"/>
                <a:gd name="connsiteX40" fmla="*/ 1335500 w 3378708"/>
                <a:gd name="connsiteY40" fmla="*/ 9525 h 587883"/>
                <a:gd name="connsiteX41" fmla="*/ 1039940 w 3378708"/>
                <a:gd name="connsiteY41" fmla="*/ 9525 h 587883"/>
                <a:gd name="connsiteX42" fmla="*/ 1039940 w 3378708"/>
                <a:gd name="connsiteY42" fmla="*/ 578548 h 587883"/>
                <a:gd name="connsiteX43" fmla="*/ 1158907 w 3378708"/>
                <a:gd name="connsiteY43" fmla="*/ 578548 h 587883"/>
                <a:gd name="connsiteX44" fmla="*/ 1158907 w 3378708"/>
                <a:gd name="connsiteY44" fmla="*/ 330327 h 587883"/>
                <a:gd name="connsiteX45" fmla="*/ 1327595 w 3378708"/>
                <a:gd name="connsiteY45" fmla="*/ 330327 h 587883"/>
                <a:gd name="connsiteX46" fmla="*/ 1327595 w 3378708"/>
                <a:gd name="connsiteY46" fmla="*/ 242888 h 587883"/>
                <a:gd name="connsiteX47" fmla="*/ 1158907 w 3378708"/>
                <a:gd name="connsiteY47" fmla="*/ 242888 h 587883"/>
                <a:gd name="connsiteX48" fmla="*/ 1158907 w 3378708"/>
                <a:gd name="connsiteY48" fmla="*/ 97060 h 587883"/>
                <a:gd name="connsiteX49" fmla="*/ 1401508 w 3378708"/>
                <a:gd name="connsiteY49" fmla="*/ 578453 h 587883"/>
                <a:gd name="connsiteX50" fmla="*/ 1520476 w 3378708"/>
                <a:gd name="connsiteY50" fmla="*/ 578453 h 587883"/>
                <a:gd name="connsiteX51" fmla="*/ 1520476 w 3378708"/>
                <a:gd name="connsiteY51" fmla="*/ 9430 h 587883"/>
                <a:gd name="connsiteX52" fmla="*/ 1401508 w 3378708"/>
                <a:gd name="connsiteY52" fmla="*/ 9430 h 587883"/>
                <a:gd name="connsiteX53" fmla="*/ 1401508 w 3378708"/>
                <a:gd name="connsiteY53" fmla="*/ 578453 h 587883"/>
                <a:gd name="connsiteX54" fmla="*/ 1899380 w 3378708"/>
                <a:gd name="connsiteY54" fmla="*/ 578453 h 587883"/>
                <a:gd name="connsiteX55" fmla="*/ 2056162 w 3378708"/>
                <a:gd name="connsiteY55" fmla="*/ 578453 h 587883"/>
                <a:gd name="connsiteX56" fmla="*/ 2056162 w 3378708"/>
                <a:gd name="connsiteY56" fmla="*/ 9430 h 587883"/>
                <a:gd name="connsiteX57" fmla="*/ 1945005 w 3378708"/>
                <a:gd name="connsiteY57" fmla="*/ 9430 h 587883"/>
                <a:gd name="connsiteX58" fmla="*/ 1945005 w 3378708"/>
                <a:gd name="connsiteY58" fmla="*/ 403479 h 587883"/>
                <a:gd name="connsiteX59" fmla="*/ 1943386 w 3378708"/>
                <a:gd name="connsiteY59" fmla="*/ 403479 h 587883"/>
                <a:gd name="connsiteX60" fmla="*/ 1792033 w 3378708"/>
                <a:gd name="connsiteY60" fmla="*/ 9430 h 587883"/>
                <a:gd name="connsiteX61" fmla="*/ 1631252 w 3378708"/>
                <a:gd name="connsiteY61" fmla="*/ 9430 h 587883"/>
                <a:gd name="connsiteX62" fmla="*/ 1631252 w 3378708"/>
                <a:gd name="connsiteY62" fmla="*/ 578453 h 587883"/>
                <a:gd name="connsiteX63" fmla="*/ 1742408 w 3378708"/>
                <a:gd name="connsiteY63" fmla="*/ 578453 h 587883"/>
                <a:gd name="connsiteX64" fmla="*/ 1742408 w 3378708"/>
                <a:gd name="connsiteY64" fmla="*/ 162401 h 587883"/>
                <a:gd name="connsiteX65" fmla="*/ 1743932 w 3378708"/>
                <a:gd name="connsiteY65" fmla="*/ 162401 h 587883"/>
                <a:gd name="connsiteX66" fmla="*/ 1899190 w 3378708"/>
                <a:gd name="connsiteY66" fmla="*/ 578453 h 587883"/>
                <a:gd name="connsiteX67" fmla="*/ 2526697 w 3378708"/>
                <a:gd name="connsiteY67" fmla="*/ 184404 h 587883"/>
                <a:gd name="connsiteX68" fmla="*/ 2344674 w 3378708"/>
                <a:gd name="connsiteY68" fmla="*/ 0 h 587883"/>
                <a:gd name="connsiteX69" fmla="*/ 2142935 w 3378708"/>
                <a:gd name="connsiteY69" fmla="*/ 289179 h 587883"/>
                <a:gd name="connsiteX70" fmla="*/ 2365915 w 3378708"/>
                <a:gd name="connsiteY70" fmla="*/ 587883 h 587883"/>
                <a:gd name="connsiteX71" fmla="*/ 2526697 w 3378708"/>
                <a:gd name="connsiteY71" fmla="*/ 568928 h 587883"/>
                <a:gd name="connsiteX72" fmla="*/ 2526697 w 3378708"/>
                <a:gd name="connsiteY72" fmla="*/ 280511 h 587883"/>
                <a:gd name="connsiteX73" fmla="*/ 2343055 w 3378708"/>
                <a:gd name="connsiteY73" fmla="*/ 280511 h 587883"/>
                <a:gd name="connsiteX74" fmla="*/ 2343055 w 3378708"/>
                <a:gd name="connsiteY74" fmla="*/ 367951 h 587883"/>
                <a:gd name="connsiteX75" fmla="*/ 2407730 w 3378708"/>
                <a:gd name="connsiteY75" fmla="*/ 367951 h 587883"/>
                <a:gd name="connsiteX76" fmla="*/ 2407730 w 3378708"/>
                <a:gd name="connsiteY76" fmla="*/ 494062 h 587883"/>
                <a:gd name="connsiteX77" fmla="*/ 2348579 w 3378708"/>
                <a:gd name="connsiteY77" fmla="*/ 505111 h 587883"/>
                <a:gd name="connsiteX78" fmla="*/ 2263426 w 3378708"/>
                <a:gd name="connsiteY78" fmla="*/ 295465 h 587883"/>
                <a:gd name="connsiteX79" fmla="*/ 2337530 w 3378708"/>
                <a:gd name="connsiteY79" fmla="*/ 85058 h 587883"/>
                <a:gd name="connsiteX80" fmla="*/ 2408492 w 3378708"/>
                <a:gd name="connsiteY80" fmla="*/ 184404 h 587883"/>
                <a:gd name="connsiteX81" fmla="*/ 2526697 w 3378708"/>
                <a:gd name="connsiteY81" fmla="*/ 184404 h 587883"/>
                <a:gd name="connsiteX82" fmla="*/ 2622042 w 3378708"/>
                <a:gd name="connsiteY82" fmla="*/ 578453 h 587883"/>
                <a:gd name="connsiteX83" fmla="*/ 2938843 w 3378708"/>
                <a:gd name="connsiteY83" fmla="*/ 578453 h 587883"/>
                <a:gd name="connsiteX84" fmla="*/ 2938843 w 3378708"/>
                <a:gd name="connsiteY84" fmla="*/ 491014 h 587883"/>
                <a:gd name="connsiteX85" fmla="*/ 2741009 w 3378708"/>
                <a:gd name="connsiteY85" fmla="*/ 491014 h 587883"/>
                <a:gd name="connsiteX86" fmla="*/ 2741009 w 3378708"/>
                <a:gd name="connsiteY86" fmla="*/ 324707 h 587883"/>
                <a:gd name="connsiteX87" fmla="*/ 2917508 w 3378708"/>
                <a:gd name="connsiteY87" fmla="*/ 324707 h 587883"/>
                <a:gd name="connsiteX88" fmla="*/ 2917508 w 3378708"/>
                <a:gd name="connsiteY88" fmla="*/ 237268 h 587883"/>
                <a:gd name="connsiteX89" fmla="*/ 2741009 w 3378708"/>
                <a:gd name="connsiteY89" fmla="*/ 237268 h 587883"/>
                <a:gd name="connsiteX90" fmla="*/ 2741009 w 3378708"/>
                <a:gd name="connsiteY90" fmla="*/ 96964 h 587883"/>
                <a:gd name="connsiteX91" fmla="*/ 2932462 w 3378708"/>
                <a:gd name="connsiteY91" fmla="*/ 96964 h 587883"/>
                <a:gd name="connsiteX92" fmla="*/ 2932462 w 3378708"/>
                <a:gd name="connsiteY92" fmla="*/ 9525 h 587883"/>
                <a:gd name="connsiteX93" fmla="*/ 2621947 w 3378708"/>
                <a:gd name="connsiteY93" fmla="*/ 9525 h 587883"/>
                <a:gd name="connsiteX94" fmla="*/ 2621947 w 3378708"/>
                <a:gd name="connsiteY94" fmla="*/ 578548 h 587883"/>
                <a:gd name="connsiteX95" fmla="*/ 3247168 w 3378708"/>
                <a:gd name="connsiteY95" fmla="*/ 171831 h 587883"/>
                <a:gd name="connsiteX96" fmla="*/ 3186493 w 3378708"/>
                <a:gd name="connsiteY96" fmla="*/ 255365 h 587883"/>
                <a:gd name="connsiteX97" fmla="*/ 3133725 w 3378708"/>
                <a:gd name="connsiteY97" fmla="*/ 255365 h 587883"/>
                <a:gd name="connsiteX98" fmla="*/ 3133725 w 3378708"/>
                <a:gd name="connsiteY98" fmla="*/ 96964 h 587883"/>
                <a:gd name="connsiteX99" fmla="*/ 3186493 w 3378708"/>
                <a:gd name="connsiteY99" fmla="*/ 96964 h 587883"/>
                <a:gd name="connsiteX100" fmla="*/ 3247168 w 3378708"/>
                <a:gd name="connsiteY100" fmla="*/ 171831 h 587883"/>
                <a:gd name="connsiteX101" fmla="*/ 3367754 w 3378708"/>
                <a:gd name="connsiteY101" fmla="*/ 158401 h 587883"/>
                <a:gd name="connsiteX102" fmla="*/ 3234595 w 3378708"/>
                <a:gd name="connsiteY102" fmla="*/ 9430 h 587883"/>
                <a:gd name="connsiteX103" fmla="*/ 3014758 w 3378708"/>
                <a:gd name="connsiteY103" fmla="*/ 9430 h 587883"/>
                <a:gd name="connsiteX104" fmla="*/ 3014758 w 3378708"/>
                <a:gd name="connsiteY104" fmla="*/ 578453 h 587883"/>
                <a:gd name="connsiteX105" fmla="*/ 3133725 w 3378708"/>
                <a:gd name="connsiteY105" fmla="*/ 578453 h 587883"/>
                <a:gd name="connsiteX106" fmla="*/ 3133725 w 3378708"/>
                <a:gd name="connsiteY106" fmla="*/ 342805 h 587883"/>
                <a:gd name="connsiteX107" fmla="*/ 3164491 w 3378708"/>
                <a:gd name="connsiteY107" fmla="*/ 342805 h 587883"/>
                <a:gd name="connsiteX108" fmla="*/ 3249549 w 3378708"/>
                <a:gd name="connsiteY108" fmla="*/ 468154 h 587883"/>
                <a:gd name="connsiteX109" fmla="*/ 3262122 w 3378708"/>
                <a:gd name="connsiteY109" fmla="*/ 578453 h 587883"/>
                <a:gd name="connsiteX110" fmla="*/ 3378708 w 3378708"/>
                <a:gd name="connsiteY110" fmla="*/ 578453 h 587883"/>
                <a:gd name="connsiteX111" fmla="*/ 3365278 w 3378708"/>
                <a:gd name="connsiteY111" fmla="*/ 411385 h 587883"/>
                <a:gd name="connsiteX112" fmla="*/ 3262027 w 3378708"/>
                <a:gd name="connsiteY112" fmla="*/ 299466 h 587883"/>
                <a:gd name="connsiteX113" fmla="*/ 3262027 w 3378708"/>
                <a:gd name="connsiteY113" fmla="*/ 297847 h 587883"/>
                <a:gd name="connsiteX114" fmla="*/ 3367659 w 3378708"/>
                <a:gd name="connsiteY114" fmla="*/ 158401 h 58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378708" h="587883">
                  <a:moveTo>
                    <a:pt x="472059" y="210788"/>
                  </a:moveTo>
                  <a:lnTo>
                    <a:pt x="472059" y="578453"/>
                  </a:lnTo>
                  <a:lnTo>
                    <a:pt x="591026" y="578453"/>
                  </a:lnTo>
                  <a:lnTo>
                    <a:pt x="591026" y="157829"/>
                  </a:lnTo>
                  <a:lnTo>
                    <a:pt x="472059" y="210788"/>
                  </a:lnTo>
                  <a:close/>
                  <a:moveTo>
                    <a:pt x="267176" y="410623"/>
                  </a:moveTo>
                  <a:cubicBezTo>
                    <a:pt x="267176" y="490252"/>
                    <a:pt x="210407" y="491014"/>
                    <a:pt x="185261" y="491014"/>
                  </a:cubicBezTo>
                  <a:lnTo>
                    <a:pt x="119063" y="491014"/>
                  </a:lnTo>
                  <a:lnTo>
                    <a:pt x="119063" y="329470"/>
                  </a:lnTo>
                  <a:lnTo>
                    <a:pt x="188405" y="329470"/>
                  </a:lnTo>
                  <a:cubicBezTo>
                    <a:pt x="248317" y="329470"/>
                    <a:pt x="267176" y="360236"/>
                    <a:pt x="267176" y="410623"/>
                  </a:cubicBezTo>
                  <a:moveTo>
                    <a:pt x="260890" y="169450"/>
                  </a:moveTo>
                  <a:cubicBezTo>
                    <a:pt x="260890" y="224600"/>
                    <a:pt x="224599" y="241935"/>
                    <a:pt x="198596" y="241935"/>
                  </a:cubicBezTo>
                  <a:lnTo>
                    <a:pt x="118967" y="241935"/>
                  </a:lnTo>
                  <a:lnTo>
                    <a:pt x="118967" y="96964"/>
                  </a:lnTo>
                  <a:lnTo>
                    <a:pt x="192310" y="96964"/>
                  </a:lnTo>
                  <a:cubicBezTo>
                    <a:pt x="232505" y="96964"/>
                    <a:pt x="260890" y="127730"/>
                    <a:pt x="260890" y="169450"/>
                  </a:cubicBezTo>
                  <a:moveTo>
                    <a:pt x="279749" y="283750"/>
                  </a:moveTo>
                  <a:lnTo>
                    <a:pt x="279749" y="282130"/>
                  </a:lnTo>
                  <a:cubicBezTo>
                    <a:pt x="344424" y="269557"/>
                    <a:pt x="376714" y="222218"/>
                    <a:pt x="376714" y="156781"/>
                  </a:cubicBezTo>
                  <a:cubicBezTo>
                    <a:pt x="376714" y="35433"/>
                    <a:pt x="301847" y="9430"/>
                    <a:pt x="211169" y="9430"/>
                  </a:cubicBezTo>
                  <a:lnTo>
                    <a:pt x="0" y="9430"/>
                  </a:lnTo>
                  <a:lnTo>
                    <a:pt x="0" y="578453"/>
                  </a:lnTo>
                  <a:lnTo>
                    <a:pt x="210407" y="578453"/>
                  </a:lnTo>
                  <a:cubicBezTo>
                    <a:pt x="260890" y="578453"/>
                    <a:pt x="386144" y="572167"/>
                    <a:pt x="386144" y="427958"/>
                  </a:cubicBezTo>
                  <a:cubicBezTo>
                    <a:pt x="386144" y="349948"/>
                    <a:pt x="364046" y="295561"/>
                    <a:pt x="279749" y="283750"/>
                  </a:cubicBezTo>
                  <a:moveTo>
                    <a:pt x="591026" y="86106"/>
                  </a:moveTo>
                  <a:lnTo>
                    <a:pt x="591026" y="9430"/>
                  </a:lnTo>
                  <a:lnTo>
                    <a:pt x="472059" y="9430"/>
                  </a:lnTo>
                  <a:lnTo>
                    <a:pt x="472059" y="139065"/>
                  </a:lnTo>
                  <a:lnTo>
                    <a:pt x="591026" y="86106"/>
                  </a:lnTo>
                  <a:close/>
                  <a:moveTo>
                    <a:pt x="701135" y="578453"/>
                  </a:moveTo>
                  <a:lnTo>
                    <a:pt x="998220" y="578453"/>
                  </a:lnTo>
                  <a:lnTo>
                    <a:pt x="998220" y="483870"/>
                  </a:lnTo>
                  <a:lnTo>
                    <a:pt x="820103" y="483870"/>
                  </a:lnTo>
                  <a:lnTo>
                    <a:pt x="820103" y="9430"/>
                  </a:lnTo>
                  <a:lnTo>
                    <a:pt x="701135" y="9430"/>
                  </a:lnTo>
                  <a:lnTo>
                    <a:pt x="701135" y="578453"/>
                  </a:lnTo>
                  <a:close/>
                  <a:moveTo>
                    <a:pt x="1159002" y="96964"/>
                  </a:moveTo>
                  <a:lnTo>
                    <a:pt x="1335500" y="96964"/>
                  </a:lnTo>
                  <a:lnTo>
                    <a:pt x="1335500" y="9525"/>
                  </a:lnTo>
                  <a:lnTo>
                    <a:pt x="1039940" y="9525"/>
                  </a:lnTo>
                  <a:lnTo>
                    <a:pt x="1039940" y="578548"/>
                  </a:lnTo>
                  <a:lnTo>
                    <a:pt x="1158907" y="578548"/>
                  </a:lnTo>
                  <a:lnTo>
                    <a:pt x="1158907" y="330327"/>
                  </a:lnTo>
                  <a:lnTo>
                    <a:pt x="1327595" y="330327"/>
                  </a:lnTo>
                  <a:lnTo>
                    <a:pt x="1327595" y="242888"/>
                  </a:lnTo>
                  <a:lnTo>
                    <a:pt x="1158907" y="242888"/>
                  </a:lnTo>
                  <a:lnTo>
                    <a:pt x="1158907" y="97060"/>
                  </a:lnTo>
                  <a:close/>
                  <a:moveTo>
                    <a:pt x="1401508" y="578453"/>
                  </a:moveTo>
                  <a:lnTo>
                    <a:pt x="1520476" y="578453"/>
                  </a:lnTo>
                  <a:lnTo>
                    <a:pt x="1520476" y="9430"/>
                  </a:lnTo>
                  <a:lnTo>
                    <a:pt x="1401508" y="9430"/>
                  </a:lnTo>
                  <a:lnTo>
                    <a:pt x="1401508" y="578453"/>
                  </a:lnTo>
                  <a:close/>
                  <a:moveTo>
                    <a:pt x="1899380" y="578453"/>
                  </a:moveTo>
                  <a:lnTo>
                    <a:pt x="2056162" y="578453"/>
                  </a:lnTo>
                  <a:lnTo>
                    <a:pt x="2056162" y="9430"/>
                  </a:lnTo>
                  <a:lnTo>
                    <a:pt x="1945005" y="9430"/>
                  </a:lnTo>
                  <a:lnTo>
                    <a:pt x="1945005" y="403479"/>
                  </a:lnTo>
                  <a:lnTo>
                    <a:pt x="1943386" y="403479"/>
                  </a:lnTo>
                  <a:lnTo>
                    <a:pt x="1792033" y="9430"/>
                  </a:lnTo>
                  <a:lnTo>
                    <a:pt x="1631252" y="9430"/>
                  </a:lnTo>
                  <a:lnTo>
                    <a:pt x="1631252" y="578453"/>
                  </a:lnTo>
                  <a:lnTo>
                    <a:pt x="1742408" y="578453"/>
                  </a:lnTo>
                  <a:lnTo>
                    <a:pt x="1742408" y="162401"/>
                  </a:lnTo>
                  <a:lnTo>
                    <a:pt x="1743932" y="162401"/>
                  </a:lnTo>
                  <a:lnTo>
                    <a:pt x="1899190" y="578453"/>
                  </a:lnTo>
                  <a:close/>
                  <a:moveTo>
                    <a:pt x="2526697" y="184404"/>
                  </a:moveTo>
                  <a:cubicBezTo>
                    <a:pt x="2533745" y="65437"/>
                    <a:pt x="2461260" y="0"/>
                    <a:pt x="2344674" y="0"/>
                  </a:cubicBezTo>
                  <a:cubicBezTo>
                    <a:pt x="2149983" y="0"/>
                    <a:pt x="2142935" y="145828"/>
                    <a:pt x="2142935" y="289179"/>
                  </a:cubicBezTo>
                  <a:cubicBezTo>
                    <a:pt x="2142935" y="505111"/>
                    <a:pt x="2165795" y="587883"/>
                    <a:pt x="2365915" y="587883"/>
                  </a:cubicBezTo>
                  <a:cubicBezTo>
                    <a:pt x="2413159" y="587883"/>
                    <a:pt x="2494407" y="575310"/>
                    <a:pt x="2526697" y="568928"/>
                  </a:cubicBezTo>
                  <a:lnTo>
                    <a:pt x="2526697" y="280511"/>
                  </a:lnTo>
                  <a:lnTo>
                    <a:pt x="2343055" y="280511"/>
                  </a:lnTo>
                  <a:lnTo>
                    <a:pt x="2343055" y="367951"/>
                  </a:lnTo>
                  <a:lnTo>
                    <a:pt x="2407730" y="367951"/>
                  </a:lnTo>
                  <a:lnTo>
                    <a:pt x="2407730" y="494062"/>
                  </a:lnTo>
                  <a:cubicBezTo>
                    <a:pt x="2389632" y="500348"/>
                    <a:pt x="2368296" y="505111"/>
                    <a:pt x="2348579" y="505111"/>
                  </a:cubicBezTo>
                  <a:cubicBezTo>
                    <a:pt x="2280761" y="505111"/>
                    <a:pt x="2263426" y="473583"/>
                    <a:pt x="2263426" y="295465"/>
                  </a:cubicBezTo>
                  <a:cubicBezTo>
                    <a:pt x="2263426" y="185166"/>
                    <a:pt x="2263426" y="85058"/>
                    <a:pt x="2337530" y="85058"/>
                  </a:cubicBezTo>
                  <a:cubicBezTo>
                    <a:pt x="2400586" y="85058"/>
                    <a:pt x="2409254" y="131540"/>
                    <a:pt x="2408492" y="184404"/>
                  </a:cubicBezTo>
                  <a:lnTo>
                    <a:pt x="2526697" y="184404"/>
                  </a:lnTo>
                  <a:close/>
                  <a:moveTo>
                    <a:pt x="2622042" y="578453"/>
                  </a:moveTo>
                  <a:lnTo>
                    <a:pt x="2938843" y="578453"/>
                  </a:lnTo>
                  <a:lnTo>
                    <a:pt x="2938843" y="491014"/>
                  </a:lnTo>
                  <a:lnTo>
                    <a:pt x="2741009" y="491014"/>
                  </a:lnTo>
                  <a:lnTo>
                    <a:pt x="2741009" y="324707"/>
                  </a:lnTo>
                  <a:lnTo>
                    <a:pt x="2917508" y="324707"/>
                  </a:lnTo>
                  <a:lnTo>
                    <a:pt x="2917508" y="237268"/>
                  </a:lnTo>
                  <a:lnTo>
                    <a:pt x="2741009" y="237268"/>
                  </a:lnTo>
                  <a:lnTo>
                    <a:pt x="2741009" y="96964"/>
                  </a:lnTo>
                  <a:lnTo>
                    <a:pt x="2932462" y="96964"/>
                  </a:lnTo>
                  <a:lnTo>
                    <a:pt x="2932462" y="9525"/>
                  </a:lnTo>
                  <a:lnTo>
                    <a:pt x="2621947" y="9525"/>
                  </a:lnTo>
                  <a:lnTo>
                    <a:pt x="2621947" y="578548"/>
                  </a:lnTo>
                  <a:close/>
                  <a:moveTo>
                    <a:pt x="3247168" y="171831"/>
                  </a:moveTo>
                  <a:cubicBezTo>
                    <a:pt x="3247168" y="208026"/>
                    <a:pt x="3233738" y="255365"/>
                    <a:pt x="3186493" y="255365"/>
                  </a:cubicBezTo>
                  <a:lnTo>
                    <a:pt x="3133725" y="255365"/>
                  </a:lnTo>
                  <a:lnTo>
                    <a:pt x="3133725" y="96964"/>
                  </a:lnTo>
                  <a:lnTo>
                    <a:pt x="3186493" y="96964"/>
                  </a:lnTo>
                  <a:cubicBezTo>
                    <a:pt x="3224308" y="96964"/>
                    <a:pt x="3247168" y="117443"/>
                    <a:pt x="3247168" y="171831"/>
                  </a:cubicBezTo>
                  <a:moveTo>
                    <a:pt x="3367754" y="158401"/>
                  </a:moveTo>
                  <a:cubicBezTo>
                    <a:pt x="3367754" y="61436"/>
                    <a:pt x="3315748" y="9430"/>
                    <a:pt x="3234595" y="9430"/>
                  </a:cubicBezTo>
                  <a:lnTo>
                    <a:pt x="3014758" y="9430"/>
                  </a:lnTo>
                  <a:lnTo>
                    <a:pt x="3014758" y="578453"/>
                  </a:lnTo>
                  <a:lnTo>
                    <a:pt x="3133725" y="578453"/>
                  </a:lnTo>
                  <a:lnTo>
                    <a:pt x="3133725" y="342805"/>
                  </a:lnTo>
                  <a:lnTo>
                    <a:pt x="3164491" y="342805"/>
                  </a:lnTo>
                  <a:cubicBezTo>
                    <a:pt x="3255931" y="342805"/>
                    <a:pt x="3249549" y="400336"/>
                    <a:pt x="3249549" y="468154"/>
                  </a:cubicBezTo>
                  <a:cubicBezTo>
                    <a:pt x="3249549" y="505206"/>
                    <a:pt x="3246406" y="543782"/>
                    <a:pt x="3262122" y="578453"/>
                  </a:cubicBezTo>
                  <a:lnTo>
                    <a:pt x="3378708" y="578453"/>
                  </a:lnTo>
                  <a:cubicBezTo>
                    <a:pt x="3367659" y="554831"/>
                    <a:pt x="3365278" y="447675"/>
                    <a:pt x="3365278" y="411385"/>
                  </a:cubicBezTo>
                  <a:cubicBezTo>
                    <a:pt x="3365278" y="308896"/>
                    <a:pt x="3288030" y="302609"/>
                    <a:pt x="3262027" y="299466"/>
                  </a:cubicBezTo>
                  <a:lnTo>
                    <a:pt x="3262027" y="297847"/>
                  </a:lnTo>
                  <a:cubicBezTo>
                    <a:pt x="3339275" y="285274"/>
                    <a:pt x="3367659" y="230886"/>
                    <a:pt x="3367659" y="1584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D54B0179-DF63-447D-EB2C-25F7A0B2D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8694788" y="122784"/>
              <a:ext cx="393837" cy="371957"/>
            </a:xfrm>
            <a:prstGeom prst="rect">
              <a:avLst/>
            </a:prstGeom>
          </p:spPr>
        </p:pic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B49A3B5D-96BA-4C13-52C2-B6E1A0D6D30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371277" y="5454650"/>
            <a:ext cx="1366584" cy="167675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ctr" rtl="0"/>
            <a:r>
              <a:rPr lang="en-US" sz="100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Confidentiality: Internal</a:t>
            </a:r>
          </a:p>
        </p:txBody>
      </p:sp>
      <p:sp>
        <p:nvSpPr>
          <p:cNvPr id="66" name="Titelplatzhalter 65">
            <a:extLst>
              <a:ext uri="{FF2B5EF4-FFF2-40B4-BE49-F238E27FC236}">
                <a16:creationId xmlns:a16="http://schemas.microsoft.com/office/drawing/2014/main" id="{13774DF1-CD67-E9C4-61A8-6D364EB75DC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90331" y="279593"/>
            <a:ext cx="7920000" cy="32791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903841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8" r:id="rId2"/>
    <p:sldLayoutId id="2147483692" r:id="rId3"/>
    <p:sldLayoutId id="2147483693" r:id="rId4"/>
    <p:sldLayoutId id="2147483719" r:id="rId5"/>
    <p:sldLayoutId id="2147483694" r:id="rId6"/>
    <p:sldLayoutId id="2147483695" r:id="rId7"/>
    <p:sldLayoutId id="2147483696" r:id="rId8"/>
    <p:sldLayoutId id="2147483665" r:id="rId9"/>
    <p:sldLayoutId id="2147483717" r:id="rId10"/>
    <p:sldLayoutId id="2147483697" r:id="rId11"/>
    <p:sldLayoutId id="2147483716" r:id="rId12"/>
    <p:sldLayoutId id="2147483668" r:id="rId13"/>
    <p:sldLayoutId id="2147483669" r:id="rId14"/>
    <p:sldLayoutId id="2147483670" r:id="rId15"/>
    <p:sldLayoutId id="2147483701" r:id="rId16"/>
    <p:sldLayoutId id="2147483666" r:id="rId17"/>
    <p:sldLayoutId id="2147483698" r:id="rId18"/>
    <p:sldLayoutId id="2147483699" r:id="rId19"/>
    <p:sldLayoutId id="2147483700" r:id="rId20"/>
    <p:sldLayoutId id="2147483676" r:id="rId21"/>
    <p:sldLayoutId id="2147483674" r:id="rId22"/>
    <p:sldLayoutId id="2147483702" r:id="rId23"/>
    <p:sldLayoutId id="2147483703" r:id="rId24"/>
    <p:sldLayoutId id="2147483680" r:id="rId25"/>
    <p:sldLayoutId id="2147483704" r:id="rId26"/>
    <p:sldLayoutId id="2147483705" r:id="rId27"/>
    <p:sldLayoutId id="2147483706" r:id="rId28"/>
    <p:sldLayoutId id="2147483707" r:id="rId29"/>
    <p:sldLayoutId id="2147483714" r:id="rId30"/>
    <p:sldLayoutId id="2147483715" r:id="rId31"/>
    <p:sldLayoutId id="2147483678" r:id="rId32"/>
    <p:sldLayoutId id="2147483711" r:id="rId33"/>
    <p:sldLayoutId id="2147483710" r:id="rId34"/>
    <p:sldLayoutId id="2147483713" r:id="rId35"/>
    <p:sldLayoutId id="2147483712" r:id="rId36"/>
    <p:sldLayoutId id="2147483709" r:id="rId37"/>
    <p:sldLayoutId id="2147483708" r:id="rId38"/>
  </p:sldLayoutIdLst>
  <p:hf hdr="0" dt="0"/>
  <p:txStyles>
    <p:titleStyle>
      <a:lvl1pPr algn="l" defTabSz="756026" rtl="0" eaLnBrk="1" latinLnBrk="0" hangingPunct="1">
        <a:lnSpc>
          <a:spcPct val="110000"/>
        </a:lnSpc>
        <a:spcBef>
          <a:spcPct val="0"/>
        </a:spcBef>
        <a:buNone/>
        <a:defRPr sz="21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56026" rtl="0" eaLnBrk="1" latinLnBrk="0" hangingPunct="1">
        <a:lnSpc>
          <a:spcPct val="120000"/>
        </a:lnSpc>
        <a:spcBef>
          <a:spcPts val="60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756026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8013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6026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4039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2052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90065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8078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6091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4104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81" userDrawn="1">
          <p15:clr>
            <a:srgbClr val="F26B43"/>
          </p15:clr>
        </p15:guide>
        <p15:guide id="5" orient="horz" pos="221" userDrawn="1">
          <p15:clr>
            <a:srgbClr val="F26B43"/>
          </p15:clr>
        </p15:guide>
        <p15:guide id="12" pos="6169" userDrawn="1">
          <p15:clr>
            <a:srgbClr val="F26B43"/>
          </p15:clr>
        </p15:guide>
        <p15:guide id="13" pos="3175" userDrawn="1">
          <p15:clr>
            <a:srgbClr val="F26B43"/>
          </p15:clr>
        </p15:guide>
        <p15:guide id="18" pos="5670" userDrawn="1">
          <p15:clr>
            <a:srgbClr val="F26B43"/>
          </p15:clr>
        </p15:guide>
        <p15:guide id="21" orient="horz" pos="3283" userDrawn="1">
          <p15:clr>
            <a:srgbClr val="F26B43"/>
          </p15:clr>
        </p15:guide>
        <p15:guide id="31" orient="horz" pos="342" userDrawn="1">
          <p15:clr>
            <a:srgbClr val="F26B43"/>
          </p15:clr>
        </p15:guide>
        <p15:guide id="32" orient="horz" pos="7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955AF0C-B59D-A78C-0B4C-233EBA9B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5056" y="2914913"/>
            <a:ext cx="3563937" cy="201274"/>
          </a:xfrm>
        </p:spPr>
        <p:txBody>
          <a:bodyPr/>
          <a:lstStyle/>
          <a:p>
            <a:r>
              <a:rPr lang="en-US" noProof="0" dirty="0"/>
              <a:t>September 1st, 2025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31E3F0C-1991-EEB6-3BDC-35153FE81097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xfrm>
            <a:off x="655056" y="1547005"/>
            <a:ext cx="4518407" cy="1107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600" dirty="0"/>
              <a:t>PRELIMINARY</a:t>
            </a:r>
            <a:r>
              <a:rPr lang="en-US" sz="3600" noProof="0" dirty="0">
                <a:solidFill>
                  <a:schemeClr val="bg2"/>
                </a:solidFill>
              </a:rPr>
              <a:t> DESIGN ANALYSIS</a:t>
            </a:r>
          </a:p>
        </p:txBody>
      </p:sp>
    </p:spTree>
    <p:extLst>
      <p:ext uri="{BB962C8B-B14F-4D97-AF65-F5344CB8AC3E}">
        <p14:creationId xmlns:p14="http://schemas.microsoft.com/office/powerpoint/2010/main" val="4237659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6347362C-12A4-D546-73DB-B498403E9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3090DB1-29FB-BDC2-5276-D8D1DAD2C4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B780048-2785-5840-AD02-1C4119CF6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Arrangement of the service cell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3536C2C8-0870-07AE-C303-CE2F7E41F67E}"/>
              </a:ext>
            </a:extLst>
          </p:cNvPr>
          <p:cNvSpPr txBox="1"/>
          <p:nvPr/>
        </p:nvSpPr>
        <p:spPr bwMode="gray">
          <a:xfrm>
            <a:off x="260747" y="1967005"/>
            <a:ext cx="3920509" cy="13770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noProof="0" dirty="0"/>
              <a:t>The interface between service cell and other building system </a:t>
            </a:r>
            <a:r>
              <a:rPr lang="en-GB" noProof="0" dirty="0">
                <a:sym typeface="Wingdings" panose="05000000000000000000" pitchFamily="2" charset="2"/>
              </a:rPr>
              <a:t>(</a:t>
            </a:r>
            <a:r>
              <a:rPr lang="en-US" noProof="0" dirty="0">
                <a:sym typeface="Wingdings" panose="05000000000000000000" pitchFamily="2" charset="2"/>
              </a:rPr>
              <a:t>reserved cable trays, main piping distribution lines,  HVAC ducts, reserved openings or feedthroughs,…)</a:t>
            </a:r>
            <a:r>
              <a:rPr lang="en-GB" noProof="0" dirty="0">
                <a:sym typeface="Wingdings" panose="05000000000000000000" pitchFamily="2" charset="2"/>
              </a:rPr>
              <a:t> </a:t>
            </a:r>
            <a:r>
              <a:rPr lang="en-GB" noProof="0" dirty="0"/>
              <a:t> </a:t>
            </a:r>
            <a:r>
              <a:rPr lang="en-GB" noProof="0" dirty="0">
                <a:sym typeface="Wingdings" panose="05000000000000000000" pitchFamily="2" charset="2"/>
              </a:rPr>
              <a:t> To be completed</a:t>
            </a:r>
            <a:endParaRPr lang="en-GB" noProof="0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23B24B4-6240-F85F-8EA8-459666A788A0}"/>
              </a:ext>
            </a:extLst>
          </p:cNvPr>
          <p:cNvGrpSpPr/>
          <p:nvPr/>
        </p:nvGrpSpPr>
        <p:grpSpPr>
          <a:xfrm>
            <a:off x="4513720" y="1127235"/>
            <a:ext cx="5445257" cy="3534536"/>
            <a:chOff x="129086" y="886149"/>
            <a:chExt cx="5013081" cy="3276401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6DDBA1B0-E98D-E0C9-9349-A211EF4CCF22}"/>
                </a:ext>
              </a:extLst>
            </p:cNvPr>
            <p:cNvGrpSpPr/>
            <p:nvPr/>
          </p:nvGrpSpPr>
          <p:grpSpPr>
            <a:xfrm>
              <a:off x="129086" y="886149"/>
              <a:ext cx="5013081" cy="3276401"/>
              <a:chOff x="129086" y="886149"/>
              <a:chExt cx="5013081" cy="3276401"/>
            </a:xfrm>
          </p:grpSpPr>
          <p:grpSp>
            <p:nvGrpSpPr>
              <p:cNvPr id="10" name="Groupe 9">
                <a:extLst>
                  <a:ext uri="{FF2B5EF4-FFF2-40B4-BE49-F238E27FC236}">
                    <a16:creationId xmlns:a16="http://schemas.microsoft.com/office/drawing/2014/main" id="{1B2D9CF2-04F7-90FE-37C3-184DF74C9E6C}"/>
                  </a:ext>
                </a:extLst>
              </p:cNvPr>
              <p:cNvGrpSpPr/>
              <p:nvPr/>
            </p:nvGrpSpPr>
            <p:grpSpPr>
              <a:xfrm>
                <a:off x="129086" y="886149"/>
                <a:ext cx="5013081" cy="3276401"/>
                <a:chOff x="427536" y="1159199"/>
                <a:chExt cx="5013081" cy="3276401"/>
              </a:xfrm>
            </p:grpSpPr>
            <p:pic>
              <p:nvPicPr>
                <p:cNvPr id="12" name="Image 11">
                  <a:extLst>
                    <a:ext uri="{FF2B5EF4-FFF2-40B4-BE49-F238E27FC236}">
                      <a16:creationId xmlns:a16="http://schemas.microsoft.com/office/drawing/2014/main" id="{7AE594F2-564B-217A-4375-ADD9D984D3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427536" y="1159199"/>
                  <a:ext cx="5013081" cy="3045601"/>
                </a:xfrm>
                <a:prstGeom prst="rect">
                  <a:avLst/>
                </a:prstGeom>
              </p:spPr>
            </p:pic>
            <p:cxnSp>
              <p:nvCxnSpPr>
                <p:cNvPr id="13" name="Connecteur droit avec flèche 12">
                  <a:extLst>
                    <a:ext uri="{FF2B5EF4-FFF2-40B4-BE49-F238E27FC236}">
                      <a16:creationId xmlns:a16="http://schemas.microsoft.com/office/drawing/2014/main" id="{FD23B45D-BBD5-1ED3-EDB0-B6E97366E23A}"/>
                    </a:ext>
                  </a:extLst>
                </p:cNvPr>
                <p:cNvCxnSpPr/>
                <p:nvPr/>
              </p:nvCxnSpPr>
              <p:spPr bwMode="gray">
                <a:xfrm>
                  <a:off x="1885142" y="1850400"/>
                  <a:ext cx="777600" cy="1490400"/>
                </a:xfrm>
                <a:prstGeom prst="straightConnector1">
                  <a:avLst/>
                </a:prstGeom>
                <a:ln w="9525">
                  <a:solidFill>
                    <a:srgbClr val="FF0000"/>
                  </a:solidFill>
                  <a:headEnd type="triangle"/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ZoneTexte 13">
                  <a:extLst>
                    <a:ext uri="{FF2B5EF4-FFF2-40B4-BE49-F238E27FC236}">
                      <a16:creationId xmlns:a16="http://schemas.microsoft.com/office/drawing/2014/main" id="{0CC18B8B-8BDF-44C9-AA09-B2EC589D3442}"/>
                    </a:ext>
                  </a:extLst>
                </p:cNvPr>
                <p:cNvSpPr txBox="1"/>
                <p:nvPr/>
              </p:nvSpPr>
              <p:spPr bwMode="gray">
                <a:xfrm>
                  <a:off x="2934076" y="2138400"/>
                  <a:ext cx="914400" cy="914400"/>
                </a:xfrm>
                <a:prstGeom prst="rect">
                  <a:avLst/>
                </a:prstGeom>
              </p:spPr>
              <p:txBody>
                <a:bodyPr vert="horz" wrap="none" lIns="0" tIns="0" rIns="0" bIns="0" rtlCol="0">
                  <a:noAutofit/>
                </a:bodyPr>
                <a:lstStyle/>
                <a:p>
                  <a:pPr algn="l"/>
                  <a:endParaRPr lang="en-US" noProof="0" dirty="0"/>
                </a:p>
              </p:txBody>
            </p:sp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91371AF6-2DAC-7426-FE9B-283A113CC802}"/>
                    </a:ext>
                  </a:extLst>
                </p:cNvPr>
                <p:cNvSpPr txBox="1"/>
                <p:nvPr/>
              </p:nvSpPr>
              <p:spPr bwMode="gray">
                <a:xfrm rot="3806097">
                  <a:off x="2106906" y="2374463"/>
                  <a:ext cx="648000" cy="194400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/>
                  <a:r>
                    <a:rPr lang="en-US" sz="1400" noProof="0" dirty="0">
                      <a:solidFill>
                        <a:srgbClr val="FF0000"/>
                      </a:solidFill>
                    </a:rPr>
                    <a:t>12m</a:t>
                  </a:r>
                </a:p>
              </p:txBody>
            </p:sp>
            <p:cxnSp>
              <p:nvCxnSpPr>
                <p:cNvPr id="16" name="Connecteur droit avec flèche 15">
                  <a:extLst>
                    <a:ext uri="{FF2B5EF4-FFF2-40B4-BE49-F238E27FC236}">
                      <a16:creationId xmlns:a16="http://schemas.microsoft.com/office/drawing/2014/main" id="{55C5B5CB-CFAC-2E7A-6C3E-B232D40766C2}"/>
                    </a:ext>
                  </a:extLst>
                </p:cNvPr>
                <p:cNvCxnSpPr/>
                <p:nvPr/>
              </p:nvCxnSpPr>
              <p:spPr bwMode="gray">
                <a:xfrm flipV="1">
                  <a:off x="1713600" y="1713600"/>
                  <a:ext cx="949142" cy="360000"/>
                </a:xfrm>
                <a:prstGeom prst="straightConnector1">
                  <a:avLst/>
                </a:prstGeom>
                <a:ln w="9525">
                  <a:solidFill>
                    <a:srgbClr val="FF0000"/>
                  </a:solidFill>
                  <a:headEnd type="triangle"/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id="{14E607F1-EB1E-463D-F3BB-6B68EF08EABB}"/>
                    </a:ext>
                  </a:extLst>
                </p:cNvPr>
                <p:cNvSpPr txBox="1"/>
                <p:nvPr/>
              </p:nvSpPr>
              <p:spPr bwMode="gray">
                <a:xfrm rot="20180803">
                  <a:off x="1949942" y="1636462"/>
                  <a:ext cx="648000" cy="194400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/>
                  <a:r>
                    <a:rPr lang="en-US" sz="1400" noProof="0" dirty="0">
                      <a:solidFill>
                        <a:srgbClr val="FF0000"/>
                      </a:solidFill>
                    </a:rPr>
                    <a:t>6.5m</a:t>
                  </a:r>
                </a:p>
              </p:txBody>
            </p:sp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FCAC806A-8704-B4D9-245C-4B130EDC7038}"/>
                    </a:ext>
                  </a:extLst>
                </p:cNvPr>
                <p:cNvSpPr txBox="1"/>
                <p:nvPr/>
              </p:nvSpPr>
              <p:spPr bwMode="gray">
                <a:xfrm rot="20343941">
                  <a:off x="1251981" y="1279105"/>
                  <a:ext cx="819150" cy="92238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/>
                  <a:r>
                    <a:rPr lang="en-US" sz="1100" noProof="0" dirty="0">
                      <a:solidFill>
                        <a:schemeClr val="tx1">
                          <a:lumMod val="50000"/>
                        </a:schemeClr>
                      </a:solidFill>
                    </a:rPr>
                    <a:t>Personal SAS</a:t>
                  </a:r>
                </a:p>
              </p:txBody>
            </p:sp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7B8C902E-02E9-228A-6304-3E5B2D46A5E3}"/>
                    </a:ext>
                  </a:extLst>
                </p:cNvPr>
                <p:cNvSpPr txBox="1"/>
                <p:nvPr/>
              </p:nvSpPr>
              <p:spPr bwMode="gray">
                <a:xfrm rot="3802532">
                  <a:off x="574044" y="2919427"/>
                  <a:ext cx="1741690" cy="396920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/>
                  <a:r>
                    <a:rPr lang="en-US" sz="1100" b="1" noProof="0" dirty="0">
                      <a:solidFill>
                        <a:srgbClr val="FF0000"/>
                      </a:solidFill>
                    </a:rPr>
                    <a:t>Corridor ?</a:t>
                  </a:r>
                </a:p>
              </p:txBody>
            </p:sp>
            <p:sp>
              <p:nvSpPr>
                <p:cNvPr id="20" name="ZoneTexte 19">
                  <a:extLst>
                    <a:ext uri="{FF2B5EF4-FFF2-40B4-BE49-F238E27FC236}">
                      <a16:creationId xmlns:a16="http://schemas.microsoft.com/office/drawing/2014/main" id="{F8344183-B0D1-99E2-F6C1-35D1E1A93BC5}"/>
                    </a:ext>
                  </a:extLst>
                </p:cNvPr>
                <p:cNvSpPr txBox="1"/>
                <p:nvPr/>
              </p:nvSpPr>
              <p:spPr bwMode="gray">
                <a:xfrm>
                  <a:off x="3284756" y="3935129"/>
                  <a:ext cx="849988" cy="19374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/>
                  <a:r>
                    <a:rPr lang="en-US" sz="1100" noProof="0" dirty="0">
                      <a:solidFill>
                        <a:schemeClr val="tx1">
                          <a:lumMod val="50000"/>
                        </a:schemeClr>
                      </a:solidFill>
                    </a:rPr>
                    <a:t>Logistic Area </a:t>
                  </a:r>
                </a:p>
              </p:txBody>
            </p:sp>
            <p:sp>
              <p:nvSpPr>
                <p:cNvPr id="21" name="ZoneTexte 20">
                  <a:extLst>
                    <a:ext uri="{FF2B5EF4-FFF2-40B4-BE49-F238E27FC236}">
                      <a16:creationId xmlns:a16="http://schemas.microsoft.com/office/drawing/2014/main" id="{CDFF04BF-69F9-2E3E-06FE-60989996867A}"/>
                    </a:ext>
                  </a:extLst>
                </p:cNvPr>
                <p:cNvSpPr txBox="1"/>
                <p:nvPr/>
              </p:nvSpPr>
              <p:spPr bwMode="gray">
                <a:xfrm>
                  <a:off x="4362686" y="3746734"/>
                  <a:ext cx="849988" cy="19374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/>
                  <a:r>
                    <a:rPr lang="en-US" sz="1100" noProof="0" dirty="0">
                      <a:solidFill>
                        <a:schemeClr val="tx1">
                          <a:lumMod val="50000"/>
                        </a:schemeClr>
                      </a:solidFill>
                    </a:rPr>
                    <a:t>Buffer Area </a:t>
                  </a:r>
                </a:p>
              </p:txBody>
            </p:sp>
            <p:cxnSp>
              <p:nvCxnSpPr>
                <p:cNvPr id="22" name="Connecteur droit avec flèche 21">
                  <a:extLst>
                    <a:ext uri="{FF2B5EF4-FFF2-40B4-BE49-F238E27FC236}">
                      <a16:creationId xmlns:a16="http://schemas.microsoft.com/office/drawing/2014/main" id="{0BAB7486-3867-5F9A-84AC-384937543DF8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2834284" y="3568700"/>
                  <a:ext cx="289916" cy="197218"/>
                </a:xfrm>
                <a:prstGeom prst="straightConnector1">
                  <a:avLst/>
                </a:prstGeom>
                <a:ln w="9525">
                  <a:solidFill>
                    <a:schemeClr val="tx1">
                      <a:lumMod val="50000"/>
                    </a:schemeClr>
                  </a:solidFill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ZoneTexte 22">
                  <a:extLst>
                    <a:ext uri="{FF2B5EF4-FFF2-40B4-BE49-F238E27FC236}">
                      <a16:creationId xmlns:a16="http://schemas.microsoft.com/office/drawing/2014/main" id="{F8E228E0-C3FD-4717-95D9-167EE582C1F0}"/>
                    </a:ext>
                  </a:extLst>
                </p:cNvPr>
                <p:cNvSpPr txBox="1"/>
                <p:nvPr/>
              </p:nvSpPr>
              <p:spPr bwMode="gray">
                <a:xfrm>
                  <a:off x="3163400" y="3471829"/>
                  <a:ext cx="1021250" cy="19374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/>
                  <a:r>
                    <a:rPr lang="en-US" sz="1100" noProof="0" dirty="0">
                      <a:solidFill>
                        <a:schemeClr val="tx1">
                          <a:lumMod val="50000"/>
                        </a:schemeClr>
                      </a:solidFill>
                    </a:rPr>
                    <a:t>Equipment access</a:t>
                  </a:r>
                </a:p>
              </p:txBody>
            </p:sp>
            <p:sp>
              <p:nvSpPr>
                <p:cNvPr id="24" name="ZoneTexte 23">
                  <a:extLst>
                    <a:ext uri="{FF2B5EF4-FFF2-40B4-BE49-F238E27FC236}">
                      <a16:creationId xmlns:a16="http://schemas.microsoft.com/office/drawing/2014/main" id="{0FB47ADE-2A59-B821-1789-223D57959FC3}"/>
                    </a:ext>
                  </a:extLst>
                </p:cNvPr>
                <p:cNvSpPr txBox="1"/>
                <p:nvPr/>
              </p:nvSpPr>
              <p:spPr bwMode="gray">
                <a:xfrm>
                  <a:off x="427536" y="4204800"/>
                  <a:ext cx="5013081" cy="230800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/>
                  <a:r>
                    <a:rPr lang="en-US" sz="1200" noProof="0" dirty="0">
                      <a:solidFill>
                        <a:srgbClr val="002B4F"/>
                      </a:solidFill>
                    </a:rPr>
                    <a:t>3D view of BDF-TARGET on Service Cell</a:t>
                  </a:r>
                </a:p>
              </p:txBody>
            </p:sp>
          </p:grpSp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80446F9A-32AB-5D86-77FC-4E075A640945}"/>
                  </a:ext>
                </a:extLst>
              </p:cNvPr>
              <p:cNvSpPr/>
              <p:nvPr/>
            </p:nvSpPr>
            <p:spPr bwMode="gray">
              <a:xfrm>
                <a:off x="1295400" y="1244600"/>
                <a:ext cx="1822450" cy="1981200"/>
              </a:xfrm>
              <a:custGeom>
                <a:avLst/>
                <a:gdLst>
                  <a:gd name="connsiteX0" fmla="*/ 0 w 1822450"/>
                  <a:gd name="connsiteY0" fmla="*/ 393700 h 1981200"/>
                  <a:gd name="connsiteX1" fmla="*/ 990600 w 1822450"/>
                  <a:gd name="connsiteY1" fmla="*/ 0 h 1981200"/>
                  <a:gd name="connsiteX2" fmla="*/ 1822450 w 1822450"/>
                  <a:gd name="connsiteY2" fmla="*/ 1606550 h 1981200"/>
                  <a:gd name="connsiteX3" fmla="*/ 793750 w 1822450"/>
                  <a:gd name="connsiteY3" fmla="*/ 1981200 h 1981200"/>
                  <a:gd name="connsiteX4" fmla="*/ 0 w 1822450"/>
                  <a:gd name="connsiteY4" fmla="*/ 393700 h 198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2450" h="1981200">
                    <a:moveTo>
                      <a:pt x="0" y="393700"/>
                    </a:moveTo>
                    <a:lnTo>
                      <a:pt x="990600" y="0"/>
                    </a:lnTo>
                    <a:lnTo>
                      <a:pt x="1822450" y="1606550"/>
                    </a:lnTo>
                    <a:lnTo>
                      <a:pt x="793750" y="1981200"/>
                    </a:lnTo>
                    <a:lnTo>
                      <a:pt x="0" y="393700"/>
                    </a:lnTo>
                    <a:close/>
                  </a:path>
                </a:pathLst>
              </a:custGeom>
              <a:noFill/>
              <a:ln w="28575">
                <a:solidFill>
                  <a:srgbClr val="FFFF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36000" rIns="108000" bIns="36000" rtlCol="0" anchor="ctr">
                <a:noAutofit/>
              </a:bodyPr>
              <a:lstStyle/>
              <a:p>
                <a:pPr marL="180000" marR="0" indent="-180000" algn="l" defTabSz="756026" fontAlgn="auto">
                  <a:spcBef>
                    <a:spcPts val="900"/>
                  </a:spcBef>
                  <a:spcAft>
                    <a:spcPts val="0"/>
                  </a:spcAft>
                  <a:buClr>
                    <a:schemeClr val="bg1"/>
                  </a:buClr>
                  <a:buSzPct val="100000"/>
                  <a:buFont typeface="Wingdings" panose="05000000000000000000" pitchFamily="2" charset="2"/>
                  <a:buChar char="§"/>
                  <a:tabLst/>
                </a:pPr>
                <a:endParaRPr lang="en-US" sz="1400" noProof="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8" name="Connecteur droit avec flèche 7">
              <a:extLst>
                <a:ext uri="{FF2B5EF4-FFF2-40B4-BE49-F238E27FC236}">
                  <a16:creationId xmlns:a16="http://schemas.microsoft.com/office/drawing/2014/main" id="{58370C56-86B5-258A-DB3F-AC51DFF00D0A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2460935" y="1466017"/>
              <a:ext cx="149834" cy="122115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F0DBCFF9-EC50-D16D-9A53-4A6989123B75}"/>
                </a:ext>
              </a:extLst>
            </p:cNvPr>
            <p:cNvSpPr txBox="1"/>
            <p:nvPr/>
          </p:nvSpPr>
          <p:spPr bwMode="gray">
            <a:xfrm rot="166576">
              <a:off x="2606429" y="1394854"/>
              <a:ext cx="1166241" cy="22291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50" noProof="0" dirty="0">
                  <a:solidFill>
                    <a:schemeClr val="tx1">
                      <a:lumMod val="50000"/>
                    </a:schemeClr>
                  </a:solidFill>
                </a:rPr>
                <a:t>Footprint of service cell 140m² </a:t>
              </a:r>
            </a:p>
          </p:txBody>
        </p:sp>
      </p:grp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8FB83ABA-9A62-5CEF-BE3A-6FBCA5E1909F}"/>
              </a:ext>
            </a:extLst>
          </p:cNvPr>
          <p:cNvCxnSpPr/>
          <p:nvPr/>
        </p:nvCxnSpPr>
        <p:spPr bwMode="gray">
          <a:xfrm>
            <a:off x="8594195" y="2750741"/>
            <a:ext cx="171670" cy="344445"/>
          </a:xfrm>
          <a:prstGeom prst="straightConnector1">
            <a:avLst/>
          </a:prstGeom>
          <a:ln w="38100">
            <a:solidFill>
              <a:srgbClr val="002B4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ZoneTexte 25">
            <a:extLst>
              <a:ext uri="{FF2B5EF4-FFF2-40B4-BE49-F238E27FC236}">
                <a16:creationId xmlns:a16="http://schemas.microsoft.com/office/drawing/2014/main" id="{08695DFC-AC47-AC3F-7510-6532B2BA5FFE}"/>
              </a:ext>
            </a:extLst>
          </p:cNvPr>
          <p:cNvSpPr txBox="1"/>
          <p:nvPr/>
        </p:nvSpPr>
        <p:spPr bwMode="gray">
          <a:xfrm>
            <a:off x="8402457" y="2792569"/>
            <a:ext cx="222250" cy="2607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600" noProof="0" dirty="0">
                <a:solidFill>
                  <a:schemeClr val="accent2">
                    <a:lumMod val="50000"/>
                  </a:schemeClr>
                </a:solidFill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30260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00CA1-09BE-6982-4DAC-9DCA88648B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C5994952-76FD-D1C6-6C09-2623BBF32E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C924A2E-B816-646D-853B-08864803CF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355E53F-30AD-CBC3-4244-74186CEA4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Arrangement of the service cell</a:t>
            </a:r>
            <a:endParaRPr lang="fr-FR" dirty="0"/>
          </a:p>
        </p:txBody>
      </p:sp>
      <p:pic>
        <p:nvPicPr>
          <p:cNvPr id="56" name="Image 55">
            <a:extLst>
              <a:ext uri="{FF2B5EF4-FFF2-40B4-BE49-F238E27FC236}">
                <a16:creationId xmlns:a16="http://schemas.microsoft.com/office/drawing/2014/main" id="{DB3430A2-4032-B0C5-4BAF-325328ED1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2102" y="607503"/>
            <a:ext cx="5654530" cy="489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7836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B0D191-CD31-AFBB-3B4C-DD245F605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F97D68A-68AB-2CDB-6852-6D85EBD32E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E5BA33-A3FA-59BB-72F6-C38E95C72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76E67EE-FE96-78BB-5228-319721409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Arrangement of the service cell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989B1AD-465F-E639-DFD2-18376144DC43}"/>
              </a:ext>
            </a:extLst>
          </p:cNvPr>
          <p:cNvSpPr txBox="1"/>
          <p:nvPr/>
        </p:nvSpPr>
        <p:spPr bwMode="gray">
          <a:xfrm>
            <a:off x="4900086" y="1274338"/>
            <a:ext cx="4610798" cy="13770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The hadron stopper coil equipment has been used to define the required footprint of the service cell</a:t>
            </a:r>
            <a:r>
              <a:rPr lang="en-US" dirty="0"/>
              <a:t> </a:t>
            </a:r>
            <a:r>
              <a:rPr lang="en-US" dirty="0">
                <a:solidFill>
                  <a:srgbClr val="00B050"/>
                </a:solidFill>
                <a:sym typeface="Wingdings" panose="05000000000000000000" pitchFamily="2" charset="2"/>
              </a:rPr>
              <a:t> OK for the width of the cell,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NOK for length</a:t>
            </a:r>
            <a:endParaRPr lang="en-US" dirty="0">
              <a:solidFill>
                <a:schemeClr val="tx1">
                  <a:lumMod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For the VXSS equipment (maximum length of 10.8m)  following the same hypothesis used in section 7.7,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the requested internal length = 16,3m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38CCD00-0302-D8DC-CE12-30859C73DDA1}"/>
              </a:ext>
            </a:extLst>
          </p:cNvPr>
          <p:cNvSpPr txBox="1"/>
          <p:nvPr/>
        </p:nvSpPr>
        <p:spPr bwMode="gray">
          <a:xfrm>
            <a:off x="503661" y="693683"/>
            <a:ext cx="6504111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The footprint of service cell (consideration of other equipment to be processed) </a:t>
            </a:r>
          </a:p>
          <a:p>
            <a:pPr algn="l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1FE8E7D-039E-C9DA-D4FD-3ED0F9048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180" y="1281318"/>
            <a:ext cx="3271750" cy="2685707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59F88D1-6E21-9989-D276-D4157CAA6660}"/>
              </a:ext>
            </a:extLst>
          </p:cNvPr>
          <p:cNvSpPr txBox="1"/>
          <p:nvPr/>
        </p:nvSpPr>
        <p:spPr bwMode="gray">
          <a:xfrm>
            <a:off x="472178" y="3967025"/>
            <a:ext cx="3271751" cy="230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rgbClr val="002B4F"/>
                </a:solidFill>
              </a:rPr>
              <a:t>(Extract from Technical note SPSX-PM-MEMO-0004 – Section 7.7)</a:t>
            </a:r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265839A0-6085-DCC6-AAEC-6FB622E13E12}"/>
              </a:ext>
            </a:extLst>
          </p:cNvPr>
          <p:cNvCxnSpPr>
            <a:cxnSpLocks/>
          </p:cNvCxnSpPr>
          <p:nvPr/>
        </p:nvCxnSpPr>
        <p:spPr bwMode="gray">
          <a:xfrm flipH="1">
            <a:off x="2356622" y="2384100"/>
            <a:ext cx="208158" cy="373423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7A32DF96-ACCB-FFF7-9033-00C624D9FC93}"/>
              </a:ext>
            </a:extLst>
          </p:cNvPr>
          <p:cNvSpPr txBox="1"/>
          <p:nvPr/>
        </p:nvSpPr>
        <p:spPr bwMode="gray">
          <a:xfrm>
            <a:off x="2361337" y="2184186"/>
            <a:ext cx="1166241" cy="2229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50" noProof="0" dirty="0">
                <a:solidFill>
                  <a:srgbClr val="FFFF00"/>
                </a:solidFill>
              </a:rPr>
              <a:t>hadron stopper coil equipment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2F4782B-436E-3556-84C4-555ADC17A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1229" y="2895749"/>
            <a:ext cx="4194965" cy="2198168"/>
          </a:xfrm>
          <a:prstGeom prst="rect">
            <a:avLst/>
          </a:prstGeom>
        </p:spPr>
      </p:pic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A2E8E689-BC67-FAC1-E06D-6C2FBB69976F}"/>
              </a:ext>
            </a:extLst>
          </p:cNvPr>
          <p:cNvCxnSpPr>
            <a:cxnSpLocks/>
          </p:cNvCxnSpPr>
          <p:nvPr/>
        </p:nvCxnSpPr>
        <p:spPr bwMode="gray">
          <a:xfrm>
            <a:off x="6113579" y="3691285"/>
            <a:ext cx="2271085" cy="0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72D68D13-D0BB-1E50-83CC-D86A5F23D4A7}"/>
              </a:ext>
            </a:extLst>
          </p:cNvPr>
          <p:cNvSpPr txBox="1"/>
          <p:nvPr/>
        </p:nvSpPr>
        <p:spPr bwMode="gray">
          <a:xfrm>
            <a:off x="6943809" y="3496885"/>
            <a:ext cx="638580" cy="19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noProof="0" dirty="0">
                <a:solidFill>
                  <a:srgbClr val="FF0000"/>
                </a:solidFill>
              </a:rPr>
              <a:t>10.8m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BA68E2C-DF61-4644-6614-43C73CA317B8}"/>
              </a:ext>
            </a:extLst>
          </p:cNvPr>
          <p:cNvCxnSpPr>
            <a:cxnSpLocks/>
          </p:cNvCxnSpPr>
          <p:nvPr/>
        </p:nvCxnSpPr>
        <p:spPr bwMode="gray">
          <a:xfrm>
            <a:off x="5957473" y="4445001"/>
            <a:ext cx="2523834" cy="5644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CE875395-0CB8-CD5B-BFF7-F128EDF2FBB5}"/>
              </a:ext>
            </a:extLst>
          </p:cNvPr>
          <p:cNvSpPr txBox="1"/>
          <p:nvPr/>
        </p:nvSpPr>
        <p:spPr bwMode="gray">
          <a:xfrm>
            <a:off x="6886195" y="4469403"/>
            <a:ext cx="638580" cy="19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noProof="0" dirty="0">
                <a:solidFill>
                  <a:srgbClr val="FF0000"/>
                </a:solidFill>
              </a:rPr>
              <a:t>12m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583E54D-7002-5B2C-6D56-88C2672B85FD}"/>
              </a:ext>
            </a:extLst>
          </p:cNvPr>
          <p:cNvCxnSpPr>
            <a:cxnSpLocks/>
          </p:cNvCxnSpPr>
          <p:nvPr/>
        </p:nvCxnSpPr>
        <p:spPr bwMode="gray">
          <a:xfrm flipH="1">
            <a:off x="8047054" y="3472544"/>
            <a:ext cx="208158" cy="373423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31799E8C-789C-7FDC-42E1-16DF13BB8066}"/>
              </a:ext>
            </a:extLst>
          </p:cNvPr>
          <p:cNvSpPr txBox="1"/>
          <p:nvPr/>
        </p:nvSpPr>
        <p:spPr bwMode="gray">
          <a:xfrm>
            <a:off x="7818496" y="3218649"/>
            <a:ext cx="1149288" cy="2229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50" noProof="0" dirty="0">
                <a:solidFill>
                  <a:srgbClr val="FFFF00"/>
                </a:solidFill>
              </a:rPr>
              <a:t>VXSS equipment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84026D4-30CA-B339-85F8-34CDB38CE86A}"/>
              </a:ext>
            </a:extLst>
          </p:cNvPr>
          <p:cNvSpPr txBox="1"/>
          <p:nvPr/>
        </p:nvSpPr>
        <p:spPr bwMode="gray">
          <a:xfrm>
            <a:off x="5242651" y="5135109"/>
            <a:ext cx="3625596" cy="230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rgbClr val="002B4F"/>
                </a:solidFill>
              </a:rPr>
              <a:t>(Extract from Technical note SPSX-PM-MEMO-0004 – Section 10)</a:t>
            </a:r>
          </a:p>
        </p:txBody>
      </p:sp>
    </p:spTree>
    <p:extLst>
      <p:ext uri="{BB962C8B-B14F-4D97-AF65-F5344CB8AC3E}">
        <p14:creationId xmlns:p14="http://schemas.microsoft.com/office/powerpoint/2010/main" val="37866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BD639-6745-F117-022F-1149BD68F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75C3C5E8-1DB1-6956-10FB-828DB6F31B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56E0D5A-25AD-9FF9-4C38-5D7DD7FE83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454861E-5941-619F-191E-74656EF76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tting System (out of scope)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BB9FEE3-802D-3D3A-7F17-DF0CF3BFE922}"/>
              </a:ext>
            </a:extLst>
          </p:cNvPr>
          <p:cNvSpPr txBox="1"/>
          <p:nvPr/>
        </p:nvSpPr>
        <p:spPr bwMode="gray">
          <a:xfrm>
            <a:off x="290331" y="1938772"/>
            <a:ext cx="5643439" cy="21760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Input data to be completed :</a:t>
            </a:r>
          </a:p>
          <a:p>
            <a:pPr marL="742950" lvl="1" indent="-285750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envelope size 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and the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 weight 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of the cutting systems, </a:t>
            </a:r>
          </a:p>
          <a:p>
            <a:pPr marL="742950" lvl="1" indent="-285750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expected location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 inside the cell during processing and maintenance phases.</a:t>
            </a:r>
          </a:p>
          <a:p>
            <a:pPr marL="742950" lvl="1" indent="-285750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Description of cutting process for each equipment (size and weight of the sliced components)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33E180D-0412-4A3D-DFED-9397EEE2AF7F}"/>
              </a:ext>
            </a:extLst>
          </p:cNvPr>
          <p:cNvSpPr txBox="1"/>
          <p:nvPr/>
        </p:nvSpPr>
        <p:spPr bwMode="gray">
          <a:xfrm>
            <a:off x="503661" y="693683"/>
            <a:ext cx="6504111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Input data – missing information :</a:t>
            </a:r>
          </a:p>
          <a:p>
            <a:pPr algn="l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D454AF3-E5E1-A610-F1C8-C6C5606894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79" t="7471" r="20308"/>
          <a:stretch>
            <a:fillRect/>
          </a:stretch>
        </p:blipFill>
        <p:spPr>
          <a:xfrm>
            <a:off x="6548648" y="553522"/>
            <a:ext cx="2406101" cy="164224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5BD0EF7-9BEC-95A6-0743-DF0DD72B3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649" y="2278248"/>
            <a:ext cx="2406100" cy="152053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FE1A272-9D52-3E26-073A-1EB12EAC49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8649" y="3881056"/>
            <a:ext cx="2406101" cy="154061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70C782F-2F77-1B7B-5693-ED7157298CBC}"/>
              </a:ext>
            </a:extLst>
          </p:cNvPr>
          <p:cNvSpPr txBox="1"/>
          <p:nvPr/>
        </p:nvSpPr>
        <p:spPr bwMode="gray">
          <a:xfrm>
            <a:off x="6548648" y="1938772"/>
            <a:ext cx="2406099" cy="2081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noProof="0" dirty="0">
                <a:solidFill>
                  <a:srgbClr val="FF0000"/>
                </a:solidFill>
              </a:rPr>
              <a:t>BDF-</a:t>
            </a:r>
            <a:r>
              <a:rPr lang="en-US" sz="1400" noProof="0" dirty="0" err="1">
                <a:solidFill>
                  <a:srgbClr val="FF0000"/>
                </a:solidFill>
              </a:rPr>
              <a:t>Targetd</a:t>
            </a:r>
            <a:r>
              <a:rPr lang="en-US" sz="1400" noProof="0" dirty="0">
                <a:solidFill>
                  <a:srgbClr val="FF0000"/>
                </a:solidFill>
              </a:rPr>
              <a:t> equipment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32AC0A4-9753-AEEC-2134-93C51E3A9909}"/>
              </a:ext>
            </a:extLst>
          </p:cNvPr>
          <p:cNvSpPr txBox="1"/>
          <p:nvPr/>
        </p:nvSpPr>
        <p:spPr bwMode="gray">
          <a:xfrm>
            <a:off x="6644338" y="3527732"/>
            <a:ext cx="2406099" cy="2081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noProof="0" dirty="0" err="1">
                <a:solidFill>
                  <a:srgbClr val="FF0000"/>
                </a:solidFill>
              </a:rPr>
              <a:t>nTOF</a:t>
            </a:r>
            <a:r>
              <a:rPr lang="en-US" sz="1400" noProof="0" dirty="0">
                <a:solidFill>
                  <a:srgbClr val="FF0000"/>
                </a:solidFill>
              </a:rPr>
              <a:t> target equipmen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E215A1C-FE7B-E957-3131-1A8B63EBD407}"/>
              </a:ext>
            </a:extLst>
          </p:cNvPr>
          <p:cNvSpPr txBox="1"/>
          <p:nvPr/>
        </p:nvSpPr>
        <p:spPr bwMode="gray">
          <a:xfrm>
            <a:off x="6644338" y="5117028"/>
            <a:ext cx="2406099" cy="2081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noProof="0" dirty="0">
                <a:solidFill>
                  <a:srgbClr val="FF0000"/>
                </a:solidFill>
              </a:rPr>
              <a:t>TDE – LHC beam dump</a:t>
            </a:r>
          </a:p>
        </p:txBody>
      </p:sp>
    </p:spTree>
    <p:extLst>
      <p:ext uri="{BB962C8B-B14F-4D97-AF65-F5344CB8AC3E}">
        <p14:creationId xmlns:p14="http://schemas.microsoft.com/office/powerpoint/2010/main" val="3996670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337FE7-F731-DA12-09B0-FD418D85F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B8FB4D28-19D2-F231-6244-F13879091C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120FB5A-1938-6A0A-73C3-821B01BD3E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E30FB1C-EC59-CD44-3C86-E7D2252F4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tting System (out of scope)</a:t>
            </a:r>
            <a:endParaRPr lang="fr-FR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88EDA54-A75F-82C2-84BF-88C77F1224A2}"/>
              </a:ext>
            </a:extLst>
          </p:cNvPr>
          <p:cNvSpPr txBox="1"/>
          <p:nvPr/>
        </p:nvSpPr>
        <p:spPr bwMode="gray">
          <a:xfrm>
            <a:off x="503661" y="693683"/>
            <a:ext cx="6504111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Wire Diamond saw preliminary design (DO 34680)</a:t>
            </a:r>
          </a:p>
          <a:p>
            <a:pPr algn="l"/>
            <a:endParaRPr lang="fr-FR" dirty="0" err="1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B3F2DD9-2C9D-CF46-378C-7A6C4E13AD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12" t="2135" r="1151" b="1349"/>
          <a:stretch>
            <a:fillRect/>
          </a:stretch>
        </p:blipFill>
        <p:spPr>
          <a:xfrm>
            <a:off x="349318" y="2072545"/>
            <a:ext cx="3052240" cy="2148433"/>
          </a:xfrm>
          <a:prstGeom prst="rect">
            <a:avLst/>
          </a:prstGeom>
        </p:spPr>
      </p:pic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6AC362C4-32D5-D492-75B1-96CA1A2F17F3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2161450" y="1690430"/>
            <a:ext cx="349092" cy="757188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2B4229F4-C81C-ED4E-CD44-A3AEDDBF409C}"/>
              </a:ext>
            </a:extLst>
          </p:cNvPr>
          <p:cNvSpPr txBox="1"/>
          <p:nvPr/>
        </p:nvSpPr>
        <p:spPr bwMode="gray">
          <a:xfrm>
            <a:off x="530770" y="1695581"/>
            <a:ext cx="1798320" cy="9448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en-US" noProof="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C91C2B8C-66D0-94CC-FE4A-234BDE1B917F}"/>
              </a:ext>
            </a:extLst>
          </p:cNvPr>
          <p:cNvSpPr txBox="1"/>
          <p:nvPr/>
        </p:nvSpPr>
        <p:spPr bwMode="gray">
          <a:xfrm>
            <a:off x="2510542" y="1467711"/>
            <a:ext cx="1203960" cy="44543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noProof="0" dirty="0">
                <a:solidFill>
                  <a:srgbClr val="FF0000"/>
                </a:solidFill>
              </a:rPr>
              <a:t>Purpose of gantry to be clarified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778E5E3-8F77-3022-4A7B-15D9BB78EFE2}"/>
              </a:ext>
            </a:extLst>
          </p:cNvPr>
          <p:cNvSpPr txBox="1"/>
          <p:nvPr/>
        </p:nvSpPr>
        <p:spPr bwMode="gray">
          <a:xfrm>
            <a:off x="393351" y="4264974"/>
            <a:ext cx="2606300" cy="189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900" noProof="0" dirty="0">
                <a:solidFill>
                  <a:srgbClr val="002B4F"/>
                </a:solidFill>
              </a:rPr>
              <a:t>(Extract from DO 34680)</a:t>
            </a:r>
          </a:p>
        </p:txBody>
      </p: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98456F2A-ADF0-B383-9C30-5A2BBE1F75F2}"/>
              </a:ext>
            </a:extLst>
          </p:cNvPr>
          <p:cNvCxnSpPr>
            <a:cxnSpLocks/>
            <a:stCxn id="18" idx="1"/>
          </p:cNvCxnSpPr>
          <p:nvPr/>
        </p:nvCxnSpPr>
        <p:spPr bwMode="gray">
          <a:xfrm flipH="1">
            <a:off x="2329090" y="3999129"/>
            <a:ext cx="920592" cy="96752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B71FA63D-B89D-9B8E-940C-71F183648071}"/>
              </a:ext>
            </a:extLst>
          </p:cNvPr>
          <p:cNvSpPr txBox="1"/>
          <p:nvPr/>
        </p:nvSpPr>
        <p:spPr bwMode="gray">
          <a:xfrm>
            <a:off x="3249682" y="3776410"/>
            <a:ext cx="1203960" cy="44543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Size of Support table to be defined</a:t>
            </a:r>
            <a:endParaRPr lang="en-US" sz="1200" noProof="0" dirty="0">
              <a:solidFill>
                <a:srgbClr val="FF0000"/>
              </a:solidFill>
            </a:endParaRP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39538F93-40B1-90A0-CDEF-8AC4DF259F06}"/>
              </a:ext>
            </a:extLst>
          </p:cNvPr>
          <p:cNvGrpSpPr/>
          <p:nvPr/>
        </p:nvGrpSpPr>
        <p:grpSpPr>
          <a:xfrm>
            <a:off x="5340737" y="899965"/>
            <a:ext cx="4506276" cy="3459532"/>
            <a:chOff x="4866324" y="731469"/>
            <a:chExt cx="4506276" cy="3459532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8F9AF905-A7D8-FAD0-AA0B-12CB3BE0C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619" r="17539" b="444"/>
            <a:stretch>
              <a:fillRect/>
            </a:stretch>
          </p:blipFill>
          <p:spPr>
            <a:xfrm>
              <a:off x="4866324" y="731469"/>
              <a:ext cx="4506276" cy="3459532"/>
            </a:xfrm>
            <a:prstGeom prst="rect">
              <a:avLst/>
            </a:prstGeom>
          </p:spPr>
        </p:pic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06D8129F-866E-352F-6E16-65308DE63A79}"/>
                </a:ext>
              </a:extLst>
            </p:cNvPr>
            <p:cNvSpPr txBox="1"/>
            <p:nvPr/>
          </p:nvSpPr>
          <p:spPr bwMode="gray">
            <a:xfrm rot="16200000">
              <a:off x="4840911" y="2596613"/>
              <a:ext cx="1203960" cy="21228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200" noProof="0" dirty="0">
                  <a:solidFill>
                    <a:schemeClr val="accent2">
                      <a:lumMod val="10000"/>
                    </a:schemeClr>
                  </a:solidFill>
                </a:rPr>
                <a:t>Cell Height 5m</a:t>
              </a:r>
            </a:p>
          </p:txBody>
        </p:sp>
        <p:cxnSp>
          <p:nvCxnSpPr>
            <p:cNvPr id="22" name="Connecteur droit avec flèche 21">
              <a:extLst>
                <a:ext uri="{FF2B5EF4-FFF2-40B4-BE49-F238E27FC236}">
                  <a16:creationId xmlns:a16="http://schemas.microsoft.com/office/drawing/2014/main" id="{DE9C3A0E-6EEA-7939-47B9-03DCA3994270}"/>
                </a:ext>
              </a:extLst>
            </p:cNvPr>
            <p:cNvCxnSpPr/>
            <p:nvPr/>
          </p:nvCxnSpPr>
          <p:spPr bwMode="gray">
            <a:xfrm>
              <a:off x="5631180" y="1808796"/>
              <a:ext cx="0" cy="2052957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CD3173DB-BE12-27F5-AD67-4C52B7CB07F4}"/>
                </a:ext>
              </a:extLst>
            </p:cNvPr>
            <p:cNvGrpSpPr/>
            <p:nvPr/>
          </p:nvGrpSpPr>
          <p:grpSpPr>
            <a:xfrm rot="5400000">
              <a:off x="8464014" y="1002511"/>
              <a:ext cx="266808" cy="371594"/>
              <a:chOff x="6447323" y="1126660"/>
              <a:chExt cx="266808" cy="371594"/>
            </a:xfrm>
          </p:grpSpPr>
          <p:cxnSp>
            <p:nvCxnSpPr>
              <p:cNvPr id="32" name="Connecteur droit avec flèche 31">
                <a:extLst>
                  <a:ext uri="{FF2B5EF4-FFF2-40B4-BE49-F238E27FC236}">
                    <a16:creationId xmlns:a16="http://schemas.microsoft.com/office/drawing/2014/main" id="{45A21D3D-ED21-FCFC-4B45-B8768A3C4851}"/>
                  </a:ext>
                </a:extLst>
              </p:cNvPr>
              <p:cNvCxnSpPr/>
              <p:nvPr/>
            </p:nvCxnSpPr>
            <p:spPr bwMode="gray">
              <a:xfrm flipV="1">
                <a:off x="6714131" y="1126660"/>
                <a:ext cx="0" cy="371594"/>
              </a:xfrm>
              <a:prstGeom prst="straightConnector1">
                <a:avLst/>
              </a:prstGeom>
              <a:ln w="38100">
                <a:solidFill>
                  <a:srgbClr val="002B4F"/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A592AB3E-00D2-82C2-1EE8-4EE05789D58C}"/>
                  </a:ext>
                </a:extLst>
              </p:cNvPr>
              <p:cNvSpPr txBox="1"/>
              <p:nvPr/>
            </p:nvSpPr>
            <p:spPr bwMode="gray">
              <a:xfrm rot="16305859">
                <a:off x="6484614" y="1190176"/>
                <a:ext cx="189372" cy="263954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r>
                  <a:rPr lang="en-US" noProof="0" dirty="0">
                    <a:solidFill>
                      <a:schemeClr val="accent6"/>
                    </a:solidFill>
                  </a:rPr>
                  <a:t>W</a:t>
                </a: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5E42D12-800B-315D-97E5-F7D0FB218418}"/>
                </a:ext>
              </a:extLst>
            </p:cNvPr>
            <p:cNvSpPr/>
            <p:nvPr/>
          </p:nvSpPr>
          <p:spPr bwMode="gray">
            <a:xfrm>
              <a:off x="6477000" y="2293620"/>
              <a:ext cx="1348987" cy="1563893"/>
            </a:xfrm>
            <a:prstGeom prst="rect">
              <a:avLst/>
            </a:prstGeom>
            <a:pattFill prst="wdDnDiag">
              <a:fgClr>
                <a:schemeClr val="tx1">
                  <a:lumMod val="50000"/>
                </a:schemeClr>
              </a:fgClr>
              <a:bgClr>
                <a:schemeClr val="bg1"/>
              </a:bgClr>
            </a:pattFill>
            <a:ln w="952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bIns="36000" rtlCol="0" anchor="ctr">
              <a:noAutofit/>
            </a:bodyPr>
            <a:lstStyle/>
            <a:p>
              <a:pPr marL="180000" marR="0" indent="-180000" algn="l" defTabSz="756026" fontAlgn="auto">
                <a:spcBef>
                  <a:spcPts val="900"/>
                </a:spcBef>
                <a:spcAft>
                  <a:spcPts val="0"/>
                </a:spcAft>
                <a:buClr>
                  <a:schemeClr val="bg1"/>
                </a:buClr>
                <a:buSzPct val="100000"/>
                <a:buFont typeface="Wingdings" panose="05000000000000000000" pitchFamily="2" charset="2"/>
                <a:buChar char="§"/>
                <a:tabLst/>
              </a:pPr>
              <a:endParaRPr lang="fr-FR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26" name="Connecteur droit avec flèche 25">
              <a:extLst>
                <a:ext uri="{FF2B5EF4-FFF2-40B4-BE49-F238E27FC236}">
                  <a16:creationId xmlns:a16="http://schemas.microsoft.com/office/drawing/2014/main" id="{68702C7C-E51E-C830-5C51-75F7452F47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715000" y="1744980"/>
              <a:ext cx="2466238" cy="0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C730E365-3A69-99C1-DC22-C38E65B368DC}"/>
                </a:ext>
              </a:extLst>
            </p:cNvPr>
            <p:cNvSpPr txBox="1"/>
            <p:nvPr/>
          </p:nvSpPr>
          <p:spPr bwMode="gray">
            <a:xfrm>
              <a:off x="6197271" y="1553297"/>
              <a:ext cx="1203960" cy="21228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200" noProof="0" dirty="0">
                  <a:solidFill>
                    <a:schemeClr val="accent2">
                      <a:lumMod val="10000"/>
                    </a:schemeClr>
                  </a:solidFill>
                </a:rPr>
                <a:t>Cell Width 6.5m</a:t>
              </a:r>
            </a:p>
          </p:txBody>
        </p:sp>
        <p:cxnSp>
          <p:nvCxnSpPr>
            <p:cNvPr id="28" name="Connecteur droit avec flèche 27">
              <a:extLst>
                <a:ext uri="{FF2B5EF4-FFF2-40B4-BE49-F238E27FC236}">
                  <a16:creationId xmlns:a16="http://schemas.microsoft.com/office/drawing/2014/main" id="{783C3858-51CD-7592-0995-EA92C4C2791D}"/>
                </a:ext>
              </a:extLst>
            </p:cNvPr>
            <p:cNvCxnSpPr>
              <a:cxnSpLocks/>
              <a:stCxn id="29" idx="1"/>
            </p:cNvCxnSpPr>
            <p:nvPr/>
          </p:nvCxnSpPr>
          <p:spPr bwMode="gray">
            <a:xfrm flipH="1">
              <a:off x="7846791" y="2428037"/>
              <a:ext cx="441535" cy="133397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BE75E757-09C3-8C09-F800-92E6EE7AC90B}"/>
                </a:ext>
              </a:extLst>
            </p:cNvPr>
            <p:cNvSpPr txBox="1"/>
            <p:nvPr/>
          </p:nvSpPr>
          <p:spPr bwMode="gray">
            <a:xfrm>
              <a:off x="8288326" y="2205318"/>
              <a:ext cx="796198" cy="44543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50" noProof="0" dirty="0">
                  <a:solidFill>
                    <a:schemeClr val="accent2">
                      <a:lumMod val="10000"/>
                    </a:schemeClr>
                  </a:solidFill>
                </a:rPr>
                <a:t>Wire diamond saw + Gantry</a:t>
              </a:r>
            </a:p>
          </p:txBody>
        </p: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423E0929-7712-9F5F-E85C-B78B17BCEF0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38900" y="2315116"/>
              <a:ext cx="0" cy="1563893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06D7E7D-8711-9AD5-45C0-50C18417D819}"/>
                </a:ext>
              </a:extLst>
            </p:cNvPr>
            <p:cNvSpPr/>
            <p:nvPr/>
          </p:nvSpPr>
          <p:spPr bwMode="gray">
            <a:xfrm>
              <a:off x="5715000" y="1821180"/>
              <a:ext cx="2466217" cy="47243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bIns="36000" rtlCol="0" anchor="ctr">
              <a:noAutofit/>
            </a:bodyPr>
            <a:lstStyle/>
            <a:p>
              <a:pPr marL="180000" marR="0" indent="-180000" algn="l" defTabSz="756026" fontAlgn="auto">
                <a:spcBef>
                  <a:spcPts val="900"/>
                </a:spcBef>
                <a:spcAft>
                  <a:spcPts val="0"/>
                </a:spcAft>
                <a:buClr>
                  <a:schemeClr val="bg1"/>
                </a:buClr>
                <a:buSzPct val="100000"/>
                <a:buFont typeface="Wingdings" panose="05000000000000000000" pitchFamily="2" charset="2"/>
                <a:buChar char="§"/>
                <a:tabLst/>
              </a:pPr>
              <a:endParaRPr lang="fr-FR" sz="1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F722030E-0CC9-39E3-AD00-632DFAD6B2A6}"/>
              </a:ext>
            </a:extLst>
          </p:cNvPr>
          <p:cNvCxnSpPr>
            <a:cxnSpLocks/>
            <a:stCxn id="35" idx="3"/>
          </p:cNvCxnSpPr>
          <p:nvPr/>
        </p:nvCxnSpPr>
        <p:spPr bwMode="gray">
          <a:xfrm flipV="1">
            <a:off x="5481427" y="2269272"/>
            <a:ext cx="667517" cy="187096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ZoneTexte 34">
            <a:extLst>
              <a:ext uri="{FF2B5EF4-FFF2-40B4-BE49-F238E27FC236}">
                <a16:creationId xmlns:a16="http://schemas.microsoft.com/office/drawing/2014/main" id="{D5E38B94-219D-09A9-A118-8428DAC4D0BB}"/>
              </a:ext>
            </a:extLst>
          </p:cNvPr>
          <p:cNvSpPr txBox="1"/>
          <p:nvPr/>
        </p:nvSpPr>
        <p:spPr bwMode="gray">
          <a:xfrm>
            <a:off x="3760603" y="2020815"/>
            <a:ext cx="1720824" cy="8711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noProof="0" dirty="0">
                <a:solidFill>
                  <a:srgbClr val="FF0000"/>
                </a:solidFill>
              </a:rPr>
              <a:t>1m could not be enough </a:t>
            </a:r>
            <a:r>
              <a:rPr lang="en-US" sz="1200" noProof="0" dirty="0">
                <a:solidFill>
                  <a:srgbClr val="FF0000"/>
                </a:solidFill>
                <a:sym typeface="Wingdings" panose="05000000000000000000" pitchFamily="2" charset="2"/>
              </a:rPr>
              <a:t> </a:t>
            </a:r>
            <a:r>
              <a:rPr lang="en-US" sz="1200" noProof="0" dirty="0">
                <a:solidFill>
                  <a:srgbClr val="FF0000"/>
                </a:solidFill>
              </a:rPr>
              <a:t>risk of clash /obstruction</a:t>
            </a:r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9E3CDD85-889B-C49F-492E-17E5B67EE676}"/>
              </a:ext>
            </a:extLst>
          </p:cNvPr>
          <p:cNvCxnSpPr>
            <a:cxnSpLocks/>
          </p:cNvCxnSpPr>
          <p:nvPr/>
        </p:nvCxnSpPr>
        <p:spPr bwMode="gray">
          <a:xfrm>
            <a:off x="6951413" y="4064109"/>
            <a:ext cx="1360208" cy="0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id="{EE33C66D-FF67-EDA5-1201-94EB840FD7F4}"/>
              </a:ext>
            </a:extLst>
          </p:cNvPr>
          <p:cNvSpPr txBox="1"/>
          <p:nvPr/>
        </p:nvSpPr>
        <p:spPr bwMode="gray">
          <a:xfrm>
            <a:off x="7131766" y="3799839"/>
            <a:ext cx="1078033" cy="18273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noProof="0" dirty="0">
                <a:solidFill>
                  <a:schemeClr val="accent2">
                    <a:lumMod val="10000"/>
                  </a:schemeClr>
                </a:solidFill>
              </a:rPr>
              <a:t>Horizontal max </a:t>
            </a:r>
            <a:r>
              <a:rPr lang="en-US" sz="1000" dirty="0">
                <a:solidFill>
                  <a:schemeClr val="accent2">
                    <a:lumMod val="10000"/>
                  </a:schemeClr>
                </a:solidFill>
              </a:rPr>
              <a:t>4</a:t>
            </a:r>
            <a:r>
              <a:rPr lang="en-US" sz="1000" noProof="0" dirty="0">
                <a:solidFill>
                  <a:schemeClr val="accent2">
                    <a:lumMod val="10000"/>
                  </a:schemeClr>
                </a:solidFill>
              </a:rPr>
              <a:t>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BDF2C72-EF58-5C43-6CB2-0AFC759EA4EC}"/>
              </a:ext>
            </a:extLst>
          </p:cNvPr>
          <p:cNvSpPr/>
          <p:nvPr/>
        </p:nvSpPr>
        <p:spPr bwMode="gray">
          <a:xfrm>
            <a:off x="8311621" y="2891920"/>
            <a:ext cx="342228" cy="1010199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fr-FR" sz="1400" dirty="0">
              <a:solidFill>
                <a:schemeClr val="bg1"/>
              </a:solidFill>
            </a:endParaRPr>
          </a:p>
        </p:txBody>
      </p: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76209B7-DA0B-12F5-4C05-F64C4C6B87E6}"/>
              </a:ext>
            </a:extLst>
          </p:cNvPr>
          <p:cNvCxnSpPr/>
          <p:nvPr/>
        </p:nvCxnSpPr>
        <p:spPr bwMode="gray">
          <a:xfrm>
            <a:off x="8311621" y="4064109"/>
            <a:ext cx="403029" cy="0"/>
          </a:xfrm>
          <a:prstGeom prst="straightConnector1">
            <a:avLst/>
          </a:prstGeom>
          <a:ln w="9525">
            <a:solidFill>
              <a:srgbClr val="0070C0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ZoneTexte 39">
            <a:extLst>
              <a:ext uri="{FF2B5EF4-FFF2-40B4-BE49-F238E27FC236}">
                <a16:creationId xmlns:a16="http://schemas.microsoft.com/office/drawing/2014/main" id="{9FD05613-0D0B-82DA-8FE1-9BE0474D14D3}"/>
              </a:ext>
            </a:extLst>
          </p:cNvPr>
          <p:cNvSpPr txBox="1"/>
          <p:nvPr/>
        </p:nvSpPr>
        <p:spPr bwMode="gray">
          <a:xfrm rot="16200000">
            <a:off x="6660012" y="3000492"/>
            <a:ext cx="1078033" cy="18273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noProof="0" dirty="0">
                <a:solidFill>
                  <a:schemeClr val="accent2">
                    <a:lumMod val="10000"/>
                  </a:schemeClr>
                </a:solidFill>
              </a:rPr>
              <a:t>Vertical max </a:t>
            </a:r>
            <a:r>
              <a:rPr lang="en-US" sz="1000" dirty="0">
                <a:solidFill>
                  <a:schemeClr val="accent2">
                    <a:lumMod val="10000"/>
                  </a:schemeClr>
                </a:solidFill>
              </a:rPr>
              <a:t>4</a:t>
            </a:r>
            <a:r>
              <a:rPr lang="en-US" sz="1000" noProof="0" dirty="0">
                <a:solidFill>
                  <a:schemeClr val="accent2">
                    <a:lumMod val="10000"/>
                  </a:schemeClr>
                </a:solidFill>
              </a:rPr>
              <a:t>m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9D78F9DF-114E-C831-F8A4-3772F3724CB5}"/>
              </a:ext>
            </a:extLst>
          </p:cNvPr>
          <p:cNvSpPr txBox="1"/>
          <p:nvPr/>
        </p:nvSpPr>
        <p:spPr bwMode="gray">
          <a:xfrm>
            <a:off x="7422521" y="4098243"/>
            <a:ext cx="2308451" cy="26965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000" noProof="0" dirty="0">
                <a:solidFill>
                  <a:srgbClr val="0065B0"/>
                </a:solidFill>
              </a:rPr>
              <a:t>0,8m at least </a:t>
            </a:r>
          </a:p>
          <a:p>
            <a:pPr algn="ctr"/>
            <a:r>
              <a:rPr lang="en-GB" sz="1000" noProof="0" dirty="0">
                <a:solidFill>
                  <a:srgbClr val="0065B0"/>
                </a:solidFill>
              </a:rPr>
              <a:t>(parking area for tele-manipulators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BA001FE-1927-4E52-C0D0-5292D2831E19}"/>
              </a:ext>
            </a:extLst>
          </p:cNvPr>
          <p:cNvSpPr/>
          <p:nvPr/>
        </p:nvSpPr>
        <p:spPr bwMode="gray">
          <a:xfrm>
            <a:off x="6231753" y="3182116"/>
            <a:ext cx="635841" cy="8438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36000" rtlCol="0" anchor="ctr">
            <a:noAutofit/>
          </a:bodyPr>
          <a:lstStyle/>
          <a:p>
            <a:pPr marL="180000" marR="0" indent="-180000" algn="l" defTabSz="756026" fontAlgn="auto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tabLst/>
            </a:pP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90DF70E-AC9D-B474-465A-967189080DA2}"/>
              </a:ext>
            </a:extLst>
          </p:cNvPr>
          <p:cNvSpPr txBox="1"/>
          <p:nvPr/>
        </p:nvSpPr>
        <p:spPr bwMode="gray">
          <a:xfrm>
            <a:off x="5481425" y="4528460"/>
            <a:ext cx="2145687" cy="776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200" noProof="0" dirty="0">
                <a:solidFill>
                  <a:srgbClr val="FF0000"/>
                </a:solidFill>
              </a:rPr>
              <a:t>1,7m as width for trolley area </a:t>
            </a:r>
          </a:p>
          <a:p>
            <a:pPr algn="ctr"/>
            <a:r>
              <a:rPr lang="en-GB" sz="1200" noProof="0" dirty="0">
                <a:solidFill>
                  <a:srgbClr val="FF0000"/>
                </a:solidFill>
              </a:rPr>
              <a:t>(not sufficient as the maximum width of equipment is 2.2m)</a:t>
            </a:r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52E1A5EA-EC95-E91F-5509-EFB1A9EE6350}"/>
              </a:ext>
            </a:extLst>
          </p:cNvPr>
          <p:cNvCxnSpPr>
            <a:cxnSpLocks/>
            <a:stCxn id="43" idx="0"/>
            <a:endCxn id="42" idx="2"/>
          </p:cNvCxnSpPr>
          <p:nvPr/>
        </p:nvCxnSpPr>
        <p:spPr bwMode="gray">
          <a:xfrm flipH="1" flipV="1">
            <a:off x="6549674" y="4026009"/>
            <a:ext cx="4595" cy="502451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1431DE45-6388-6F26-26DD-79278042C15A}"/>
              </a:ext>
            </a:extLst>
          </p:cNvPr>
          <p:cNvSpPr txBox="1"/>
          <p:nvPr/>
        </p:nvSpPr>
        <p:spPr bwMode="gray">
          <a:xfrm>
            <a:off x="6090893" y="1203650"/>
            <a:ext cx="2606300" cy="189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900" noProof="0" dirty="0">
                <a:solidFill>
                  <a:srgbClr val="002B4F"/>
                </a:solidFill>
              </a:rPr>
              <a:t>Font view of service cell </a:t>
            </a:r>
          </a:p>
        </p:txBody>
      </p:sp>
    </p:spTree>
    <p:extLst>
      <p:ext uri="{BB962C8B-B14F-4D97-AF65-F5344CB8AC3E}">
        <p14:creationId xmlns:p14="http://schemas.microsoft.com/office/powerpoint/2010/main" val="2896500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A41919-CC60-C68C-7F1E-6B8C95B44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BDF1C1C5-E8C1-15D9-D47A-F2D0CD9A0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8676CE5-759C-8066-797F-DF134E57E7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CE8A6D3-3F04-8AF9-2E5D-A99AA3AF8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</a:t>
            </a:r>
            <a:r>
              <a:rPr lang="en-GB" dirty="0"/>
              <a:t>Equipment Analysis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19C4D7E-9E2C-D819-0B0D-2E89956F4349}"/>
              </a:ext>
            </a:extLst>
          </p:cNvPr>
          <p:cNvSpPr txBox="1"/>
          <p:nvPr/>
        </p:nvSpPr>
        <p:spPr bwMode="gray">
          <a:xfrm>
            <a:off x="181920" y="1304853"/>
            <a:ext cx="4346410" cy="13770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Information required for the interface between the logistic area and building 911 (missing data in technical not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clearance of 15mm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between the opening and the equipment </a:t>
            </a:r>
            <a:r>
              <a:rPr lang="en-US" dirty="0">
                <a:solidFill>
                  <a:srgbClr val="FF0000"/>
                </a:solidFill>
              </a:rPr>
              <a:t>could not be enough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 </a:t>
            </a:r>
            <a:r>
              <a:rPr lang="en-US" dirty="0">
                <a:solidFill>
                  <a:srgbClr val="00B050"/>
                </a:solidFill>
                <a:sym typeface="Wingdings" panose="05000000000000000000" pitchFamily="2" charset="2"/>
              </a:rPr>
              <a:t>At least 30mm of clearance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is recommended for each side The clearance will be impacted by the trolley design.</a:t>
            </a:r>
            <a:endParaRPr lang="en-US" dirty="0">
              <a:solidFill>
                <a:srgbClr val="FF0000"/>
              </a:solidFill>
              <a:sym typeface="Wingdings" panose="05000000000000000000" pitchFamily="2" charset="2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511A0FD-A36E-9494-3609-68D969420F74}"/>
              </a:ext>
            </a:extLst>
          </p:cNvPr>
          <p:cNvSpPr txBox="1"/>
          <p:nvPr/>
        </p:nvSpPr>
        <p:spPr bwMode="gray">
          <a:xfrm>
            <a:off x="503660" y="693683"/>
            <a:ext cx="7472395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Transfer Trolley - Case of introduction of hadron stopper coil equipment (maximum width) </a:t>
            </a:r>
          </a:p>
          <a:p>
            <a:pPr algn="l"/>
            <a:endParaRPr lang="fr-FR" dirty="0" err="1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1016EA7A-03DA-F0DC-4554-BD6BFBB19162}"/>
              </a:ext>
            </a:extLst>
          </p:cNvPr>
          <p:cNvGrpSpPr/>
          <p:nvPr/>
        </p:nvGrpSpPr>
        <p:grpSpPr>
          <a:xfrm>
            <a:off x="4673491" y="1271164"/>
            <a:ext cx="5177620" cy="3757322"/>
            <a:chOff x="4223911" y="1126384"/>
            <a:chExt cx="5177620" cy="3757322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876605C-DD9D-198A-A154-60FF1BF550E0}"/>
                </a:ext>
              </a:extLst>
            </p:cNvPr>
            <p:cNvGrpSpPr/>
            <p:nvPr/>
          </p:nvGrpSpPr>
          <p:grpSpPr>
            <a:xfrm>
              <a:off x="4223911" y="1126384"/>
              <a:ext cx="5125829" cy="3509221"/>
              <a:chOff x="3294271" y="1337863"/>
              <a:chExt cx="5125829" cy="3509221"/>
            </a:xfrm>
          </p:grpSpPr>
          <p:pic>
            <p:nvPicPr>
              <p:cNvPr id="20" name="Image 19">
                <a:extLst>
                  <a:ext uri="{FF2B5EF4-FFF2-40B4-BE49-F238E27FC236}">
                    <a16:creationId xmlns:a16="http://schemas.microsoft.com/office/drawing/2014/main" id="{2C31D11C-4DBC-C59A-1940-212DAF0A99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294271" y="1337863"/>
                <a:ext cx="5125829" cy="3509221"/>
              </a:xfrm>
              <a:prstGeom prst="rect">
                <a:avLst/>
              </a:prstGeom>
            </p:spPr>
          </p:pic>
          <p:grpSp>
            <p:nvGrpSpPr>
              <p:cNvPr id="21" name="Groupe 20">
                <a:extLst>
                  <a:ext uri="{FF2B5EF4-FFF2-40B4-BE49-F238E27FC236}">
                    <a16:creationId xmlns:a16="http://schemas.microsoft.com/office/drawing/2014/main" id="{F7E82548-4E97-1990-3082-54A522CD5AF0}"/>
                  </a:ext>
                </a:extLst>
              </p:cNvPr>
              <p:cNvGrpSpPr/>
              <p:nvPr/>
            </p:nvGrpSpPr>
            <p:grpSpPr>
              <a:xfrm rot="5400000">
                <a:off x="3776245" y="1491888"/>
                <a:ext cx="269525" cy="430613"/>
                <a:chOff x="9230075" y="1289479"/>
                <a:chExt cx="269525" cy="430613"/>
              </a:xfrm>
            </p:grpSpPr>
            <p:cxnSp>
              <p:nvCxnSpPr>
                <p:cNvPr id="33" name="Connecteur droit avec flèche 32">
                  <a:extLst>
                    <a:ext uri="{FF2B5EF4-FFF2-40B4-BE49-F238E27FC236}">
                      <a16:creationId xmlns:a16="http://schemas.microsoft.com/office/drawing/2014/main" id="{2EB17877-2F1A-2815-84A7-48C819694DDB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rot="16200000" flipH="1" flipV="1">
                  <a:off x="9282934" y="1503426"/>
                  <a:ext cx="430613" cy="2719"/>
                </a:xfrm>
                <a:prstGeom prst="straightConnector1">
                  <a:avLst/>
                </a:prstGeom>
                <a:ln w="38100">
                  <a:solidFill>
                    <a:srgbClr val="002B4F"/>
                  </a:solidFill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ZoneTexte 33">
                  <a:extLst>
                    <a:ext uri="{FF2B5EF4-FFF2-40B4-BE49-F238E27FC236}">
                      <a16:creationId xmlns:a16="http://schemas.microsoft.com/office/drawing/2014/main" id="{BF0E2033-EF63-A5F4-7FA7-0A5C514428B4}"/>
                    </a:ext>
                  </a:extLst>
                </p:cNvPr>
                <p:cNvSpPr txBox="1"/>
                <p:nvPr/>
              </p:nvSpPr>
              <p:spPr bwMode="gray">
                <a:xfrm rot="16305859">
                  <a:off x="9267366" y="1313796"/>
                  <a:ext cx="189372" cy="263954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/>
                  <a:r>
                    <a:rPr lang="en-GB" noProof="0" dirty="0">
                      <a:solidFill>
                        <a:schemeClr val="accent6"/>
                      </a:solidFill>
                    </a:rPr>
                    <a:t>N</a:t>
                  </a:r>
                </a:p>
              </p:txBody>
            </p:sp>
          </p:grpSp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8DAAFA7D-6FB3-3915-A1FF-5BE6A3ED830A}"/>
                  </a:ext>
                </a:extLst>
              </p:cNvPr>
              <p:cNvCxnSpPr/>
              <p:nvPr/>
            </p:nvCxnSpPr>
            <p:spPr bwMode="gray">
              <a:xfrm>
                <a:off x="3628192" y="2141220"/>
                <a:ext cx="0" cy="1996440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A48852B4-EAFC-5F92-D150-64056C4F63C8}"/>
                  </a:ext>
                </a:extLst>
              </p:cNvPr>
              <p:cNvSpPr txBox="1"/>
              <p:nvPr/>
            </p:nvSpPr>
            <p:spPr bwMode="gray">
              <a:xfrm rot="16200000">
                <a:off x="3199997" y="3259710"/>
                <a:ext cx="657199" cy="2122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200" noProof="0" dirty="0">
                    <a:solidFill>
                      <a:schemeClr val="accent2">
                        <a:lumMod val="10000"/>
                      </a:schemeClr>
                    </a:solidFill>
                  </a:rPr>
                  <a:t>11m</a:t>
                </a:r>
              </a:p>
            </p:txBody>
          </p:sp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62727CA7-8AB7-1DA1-6A7A-6F6482266F6F}"/>
                  </a:ext>
                </a:extLst>
              </p:cNvPr>
              <p:cNvSpPr txBox="1"/>
              <p:nvPr/>
            </p:nvSpPr>
            <p:spPr bwMode="gray">
              <a:xfrm>
                <a:off x="3911007" y="3556936"/>
                <a:ext cx="1166494" cy="2768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100" b="1" noProof="0" dirty="0">
                    <a:solidFill>
                      <a:schemeClr val="accent2">
                        <a:lumMod val="10000"/>
                      </a:schemeClr>
                    </a:solidFill>
                  </a:rPr>
                  <a:t>Logistic area </a:t>
                </a:r>
                <a:endParaRPr lang="en-GB" sz="1100" b="1" noProof="0" dirty="0"/>
              </a:p>
            </p:txBody>
          </p:sp>
          <p:sp>
            <p:nvSpPr>
              <p:cNvPr id="26" name="ZoneTexte 25">
                <a:extLst>
                  <a:ext uri="{FF2B5EF4-FFF2-40B4-BE49-F238E27FC236}">
                    <a16:creationId xmlns:a16="http://schemas.microsoft.com/office/drawing/2014/main" id="{8E8B2D89-EC50-A534-C45A-A0DD2430C6C4}"/>
                  </a:ext>
                </a:extLst>
              </p:cNvPr>
              <p:cNvSpPr txBox="1"/>
              <p:nvPr/>
            </p:nvSpPr>
            <p:spPr bwMode="gray">
              <a:xfrm>
                <a:off x="6145708" y="3079227"/>
                <a:ext cx="1166494" cy="2768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100" b="1" noProof="0" dirty="0">
                    <a:solidFill>
                      <a:schemeClr val="accent2">
                        <a:lumMod val="10000"/>
                      </a:schemeClr>
                    </a:solidFill>
                  </a:rPr>
                  <a:t>Service Cell</a:t>
                </a:r>
                <a:endParaRPr lang="en-GB" sz="1100" b="1" noProof="0" dirty="0"/>
              </a:p>
            </p:txBody>
          </p:sp>
          <p:cxnSp>
            <p:nvCxnSpPr>
              <p:cNvPr id="27" name="Connecteur droit avec flèche 26">
                <a:extLst>
                  <a:ext uri="{FF2B5EF4-FFF2-40B4-BE49-F238E27FC236}">
                    <a16:creationId xmlns:a16="http://schemas.microsoft.com/office/drawing/2014/main" id="{92D3CB9C-E9D0-A7ED-7ABB-A246951DDB7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422452" y="4348550"/>
                <a:ext cx="1882140" cy="0"/>
              </a:xfrm>
              <a:prstGeom prst="straightConnector1">
                <a:avLst/>
              </a:prstGeom>
              <a:ln w="9525">
                <a:solidFill>
                  <a:schemeClr val="tx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1FE0154B-0E69-E9C0-A02C-BF22DD9DFBC4}"/>
                  </a:ext>
                </a:extLst>
              </p:cNvPr>
              <p:cNvSpPr txBox="1"/>
              <p:nvPr/>
            </p:nvSpPr>
            <p:spPr bwMode="gray">
              <a:xfrm>
                <a:off x="3686756" y="4414614"/>
                <a:ext cx="1157011" cy="2768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100" b="1" noProof="0" dirty="0">
                    <a:solidFill>
                      <a:schemeClr val="accent2">
                        <a:lumMod val="10000"/>
                      </a:schemeClr>
                    </a:solidFill>
                  </a:rPr>
                  <a:t>Buffer area </a:t>
                </a:r>
                <a:endParaRPr lang="en-GB" sz="1100" b="1" noProof="0" dirty="0"/>
              </a:p>
            </p:txBody>
          </p:sp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3DAF7D4A-4DD4-B119-805C-9E0B88112315}"/>
                  </a:ext>
                </a:extLst>
              </p:cNvPr>
              <p:cNvSpPr txBox="1"/>
              <p:nvPr/>
            </p:nvSpPr>
            <p:spPr bwMode="gray">
              <a:xfrm>
                <a:off x="4195513" y="4159122"/>
                <a:ext cx="657199" cy="2122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200" noProof="0" dirty="0">
                    <a:solidFill>
                      <a:schemeClr val="accent2">
                        <a:lumMod val="10000"/>
                      </a:schemeClr>
                    </a:solidFill>
                  </a:rPr>
                  <a:t>10.5m</a:t>
                </a:r>
              </a:p>
            </p:txBody>
          </p:sp>
          <p:cxnSp>
            <p:nvCxnSpPr>
              <p:cNvPr id="30" name="Connecteur droit avec flèche 29">
                <a:extLst>
                  <a:ext uri="{FF2B5EF4-FFF2-40B4-BE49-F238E27FC236}">
                    <a16:creationId xmlns:a16="http://schemas.microsoft.com/office/drawing/2014/main" id="{74762899-8B4A-AF6D-E616-CAC62AEB39C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430341" y="2482915"/>
                <a:ext cx="0" cy="518100"/>
              </a:xfrm>
              <a:prstGeom prst="straightConnector1">
                <a:avLst/>
              </a:prstGeom>
              <a:ln w="9525">
                <a:solidFill>
                  <a:srgbClr val="FF0000"/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71E16856-1B1A-365D-68CC-C90E8D08E0E5}"/>
                  </a:ext>
                </a:extLst>
              </p:cNvPr>
              <p:cNvSpPr txBox="1"/>
              <p:nvPr/>
            </p:nvSpPr>
            <p:spPr bwMode="gray">
              <a:xfrm rot="16200000">
                <a:off x="5214432" y="2602510"/>
                <a:ext cx="657199" cy="2122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200" noProof="0" dirty="0">
                    <a:solidFill>
                      <a:srgbClr val="FF0000"/>
                    </a:solidFill>
                  </a:rPr>
                  <a:t>2.5m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5BFDFBF7-599D-CDDE-98A2-F79B2685980F}"/>
                  </a:ext>
                </a:extLst>
              </p:cNvPr>
              <p:cNvSpPr/>
              <p:nvPr/>
            </p:nvSpPr>
            <p:spPr bwMode="gray">
              <a:xfrm>
                <a:off x="4032672" y="2514280"/>
                <a:ext cx="839777" cy="388559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36000" rIns="108000" bIns="36000" rtlCol="0" anchor="ctr">
                <a:noAutofit/>
              </a:bodyPr>
              <a:lstStyle/>
              <a:p>
                <a:pPr marL="180000" marR="0" indent="-180000" algn="l" defTabSz="756026" fontAlgn="auto">
                  <a:spcBef>
                    <a:spcPts val="900"/>
                  </a:spcBef>
                  <a:spcAft>
                    <a:spcPts val="0"/>
                  </a:spcAft>
                  <a:buClr>
                    <a:schemeClr val="bg1"/>
                  </a:buClr>
                  <a:buSzPct val="100000"/>
                  <a:buFont typeface="Wingdings" panose="05000000000000000000" pitchFamily="2" charset="2"/>
                  <a:buChar char="§"/>
                  <a:tabLst/>
                </a:pPr>
                <a:endParaRPr lang="en-GB" sz="1400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48B0FE72-B017-E638-341D-4DBB85930E55}"/>
                </a:ext>
              </a:extLst>
            </p:cNvPr>
            <p:cNvSpPr txBox="1"/>
            <p:nvPr/>
          </p:nvSpPr>
          <p:spPr bwMode="gray">
            <a:xfrm>
              <a:off x="4943203" y="4652906"/>
              <a:ext cx="4458328" cy="2308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noProof="0" dirty="0">
                  <a:solidFill>
                    <a:srgbClr val="002B4F"/>
                  </a:solidFill>
                </a:rPr>
                <a:t>Top view of Service Building</a:t>
              </a:r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E7C4CB33-E625-6D6D-6635-390ED4AC598F}"/>
                </a:ext>
              </a:extLst>
            </p:cNvPr>
            <p:cNvGrpSpPr/>
            <p:nvPr/>
          </p:nvGrpSpPr>
          <p:grpSpPr>
            <a:xfrm>
              <a:off x="5538153" y="2096385"/>
              <a:ext cx="719570" cy="191176"/>
              <a:chOff x="5538153" y="2119245"/>
              <a:chExt cx="719570" cy="191176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FA19C6FE-D359-385B-CAA9-D922646BC94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639159" y="2119245"/>
                <a:ext cx="0" cy="191176"/>
              </a:xfrm>
              <a:prstGeom prst="straightConnector1">
                <a:avLst/>
              </a:prstGeom>
              <a:ln w="9525">
                <a:solidFill>
                  <a:srgbClr val="FF0000"/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cteur droit 16">
                <a:extLst>
                  <a:ext uri="{FF2B5EF4-FFF2-40B4-BE49-F238E27FC236}">
                    <a16:creationId xmlns:a16="http://schemas.microsoft.com/office/drawing/2014/main" id="{82A538FF-6745-B618-A9A0-0237931250E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5967450" y="2303477"/>
                <a:ext cx="290273" cy="0"/>
              </a:xfrm>
              <a:prstGeom prst="line">
                <a:avLst/>
              </a:prstGeom>
              <a:ln w="9525"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necteur droit 17">
                <a:extLst>
                  <a:ext uri="{FF2B5EF4-FFF2-40B4-BE49-F238E27FC236}">
                    <a16:creationId xmlns:a16="http://schemas.microsoft.com/office/drawing/2014/main" id="{DB0EE624-B93F-EA9B-0D98-1414725C0A8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808635" y="2119245"/>
                <a:ext cx="158815" cy="178093"/>
              </a:xfrm>
              <a:prstGeom prst="line">
                <a:avLst/>
              </a:prstGeom>
              <a:ln w="9525"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necteur droit 18">
                <a:extLst>
                  <a:ext uri="{FF2B5EF4-FFF2-40B4-BE49-F238E27FC236}">
                    <a16:creationId xmlns:a16="http://schemas.microsoft.com/office/drawing/2014/main" id="{2E562B17-3683-153F-9F06-CE782ED8718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538153" y="2119245"/>
                <a:ext cx="284135" cy="0"/>
              </a:xfrm>
              <a:prstGeom prst="line">
                <a:avLst/>
              </a:prstGeom>
              <a:ln w="9525"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AB28449D-85E3-12F4-907B-38B952911301}"/>
                </a:ext>
              </a:extLst>
            </p:cNvPr>
            <p:cNvSpPr txBox="1"/>
            <p:nvPr/>
          </p:nvSpPr>
          <p:spPr bwMode="gray">
            <a:xfrm>
              <a:off x="5027575" y="2123869"/>
              <a:ext cx="657199" cy="21228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noProof="0" dirty="0">
                  <a:solidFill>
                    <a:srgbClr val="FF0000"/>
                  </a:solidFill>
                </a:rPr>
                <a:t>15mm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DEF76BBC-810E-4ECE-46EB-A4EA1E9E2F9C}"/>
                </a:ext>
              </a:extLst>
            </p:cNvPr>
            <p:cNvSpPr txBox="1"/>
            <p:nvPr/>
          </p:nvSpPr>
          <p:spPr bwMode="gray">
            <a:xfrm>
              <a:off x="4800955" y="2815493"/>
              <a:ext cx="1166495" cy="22885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fr-FR" sz="1100" dirty="0">
                  <a:solidFill>
                    <a:schemeClr val="tx1">
                      <a:lumMod val="50000"/>
                    </a:schemeClr>
                  </a:solidFill>
                </a:rPr>
                <a:t>Hadron stopper </a:t>
              </a:r>
              <a:r>
                <a:rPr lang="fr-FR" sz="1100" dirty="0" err="1">
                  <a:solidFill>
                    <a:schemeClr val="tx1">
                      <a:lumMod val="50000"/>
                    </a:schemeClr>
                  </a:solidFill>
                </a:rPr>
                <a:t>coil</a:t>
              </a:r>
              <a:endParaRPr lang="fr-FR" sz="11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12" name="Connecteur droit avec flèche 11">
              <a:extLst>
                <a:ext uri="{FF2B5EF4-FFF2-40B4-BE49-F238E27FC236}">
                  <a16:creationId xmlns:a16="http://schemas.microsoft.com/office/drawing/2014/main" id="{9CD00EEF-1DC9-6DCC-C911-66FDFC52063F}"/>
                </a:ext>
              </a:extLst>
            </p:cNvPr>
            <p:cNvCxnSpPr/>
            <p:nvPr/>
          </p:nvCxnSpPr>
          <p:spPr bwMode="gray">
            <a:xfrm flipV="1">
              <a:off x="5204460" y="2606040"/>
              <a:ext cx="102355" cy="219734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51C59011-2ED3-D4E9-1732-2556076CE83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716780" y="2480893"/>
              <a:ext cx="3573780" cy="0"/>
            </a:xfrm>
            <a:prstGeom prst="line">
              <a:avLst/>
            </a:prstGeom>
            <a:ln w="9525">
              <a:solidFill>
                <a:schemeClr val="accent3"/>
              </a:solidFill>
              <a:prstDash val="dash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9BEEF789-3C6F-F532-FD01-D96472D66E21}"/>
                </a:ext>
              </a:extLst>
            </p:cNvPr>
            <p:cNvSpPr txBox="1"/>
            <p:nvPr/>
          </p:nvSpPr>
          <p:spPr bwMode="gray">
            <a:xfrm>
              <a:off x="6674485" y="2571781"/>
              <a:ext cx="1166495" cy="22885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100" noProof="0" dirty="0">
                  <a:solidFill>
                    <a:schemeClr val="tx1">
                      <a:lumMod val="50000"/>
                    </a:schemeClr>
                  </a:solidFill>
                </a:rPr>
                <a:t>Displacement axe</a:t>
              </a:r>
            </a:p>
          </p:txBody>
        </p:sp>
        <p:cxnSp>
          <p:nvCxnSpPr>
            <p:cNvPr id="15" name="Connecteur droit avec flèche 14">
              <a:extLst>
                <a:ext uri="{FF2B5EF4-FFF2-40B4-BE49-F238E27FC236}">
                  <a16:creationId xmlns:a16="http://schemas.microsoft.com/office/drawing/2014/main" id="{3E5951D3-0FE9-9DB5-0089-882A950AC6D5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7419695" y="2480893"/>
              <a:ext cx="140201" cy="125147"/>
            </a:xfrm>
            <a:prstGeom prst="straightConnector1">
              <a:avLst/>
            </a:prstGeom>
            <a:ln w="9525">
              <a:solidFill>
                <a:schemeClr val="tx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ZoneTexte 34">
            <a:extLst>
              <a:ext uri="{FF2B5EF4-FFF2-40B4-BE49-F238E27FC236}">
                <a16:creationId xmlns:a16="http://schemas.microsoft.com/office/drawing/2014/main" id="{C602C9B0-4727-DD37-41CA-875E22EFA8E8}"/>
              </a:ext>
            </a:extLst>
          </p:cNvPr>
          <p:cNvSpPr txBox="1"/>
          <p:nvPr/>
        </p:nvSpPr>
        <p:spPr bwMode="gray">
          <a:xfrm>
            <a:off x="6809561" y="2085821"/>
            <a:ext cx="1166495" cy="2288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100" noProof="0">
                <a:solidFill>
                  <a:schemeClr val="tx1">
                    <a:lumMod val="50000"/>
                  </a:schemeClr>
                </a:solidFill>
              </a:rPr>
              <a:t>Schielded</a:t>
            </a:r>
            <a:r>
              <a:rPr lang="en-GB" sz="1100" noProof="0" dirty="0">
                <a:solidFill>
                  <a:schemeClr val="tx1">
                    <a:lumMod val="50000"/>
                  </a:schemeClr>
                </a:solidFill>
              </a:rPr>
              <a:t> Door</a:t>
            </a:r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D73B27D7-D8BA-025A-9994-56432C5F8B81}"/>
              </a:ext>
            </a:extLst>
          </p:cNvPr>
          <p:cNvCxnSpPr>
            <a:cxnSpLocks/>
          </p:cNvCxnSpPr>
          <p:nvPr/>
        </p:nvCxnSpPr>
        <p:spPr bwMode="gray">
          <a:xfrm flipH="1">
            <a:off x="6604096" y="2187768"/>
            <a:ext cx="279356" cy="177729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61954EFA-E038-4126-E247-130FD959B835}"/>
              </a:ext>
            </a:extLst>
          </p:cNvPr>
          <p:cNvGrpSpPr/>
          <p:nvPr/>
        </p:nvGrpSpPr>
        <p:grpSpPr>
          <a:xfrm>
            <a:off x="589274" y="2909913"/>
            <a:ext cx="3344223" cy="2201237"/>
            <a:chOff x="324463" y="2480936"/>
            <a:chExt cx="3519912" cy="2302755"/>
          </a:xfrm>
        </p:grpSpPr>
        <p:grpSp>
          <p:nvGrpSpPr>
            <p:cNvPr id="38" name="Groupe 37">
              <a:extLst>
                <a:ext uri="{FF2B5EF4-FFF2-40B4-BE49-F238E27FC236}">
                  <a16:creationId xmlns:a16="http://schemas.microsoft.com/office/drawing/2014/main" id="{74E476FD-6502-DD0A-1413-6CEABE412A51}"/>
                </a:ext>
              </a:extLst>
            </p:cNvPr>
            <p:cNvGrpSpPr/>
            <p:nvPr/>
          </p:nvGrpSpPr>
          <p:grpSpPr>
            <a:xfrm>
              <a:off x="324463" y="2480936"/>
              <a:ext cx="3519912" cy="2302755"/>
              <a:chOff x="324464" y="2615822"/>
              <a:chExt cx="3263202" cy="2165252"/>
            </a:xfrm>
          </p:grpSpPr>
          <p:pic>
            <p:nvPicPr>
              <p:cNvPr id="40" name="Image 39">
                <a:extLst>
                  <a:ext uri="{FF2B5EF4-FFF2-40B4-BE49-F238E27FC236}">
                    <a16:creationId xmlns:a16="http://schemas.microsoft.com/office/drawing/2014/main" id="{F8ABE79B-C42F-A477-88C3-083D3A8C00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24464" y="2615822"/>
                <a:ext cx="2832116" cy="1638144"/>
              </a:xfrm>
              <a:prstGeom prst="rect">
                <a:avLst/>
              </a:prstGeom>
            </p:spPr>
          </p:pic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1BBCD917-B762-86B3-E97C-C3A6C38A2299}"/>
                  </a:ext>
                </a:extLst>
              </p:cNvPr>
              <p:cNvSpPr txBox="1"/>
              <p:nvPr/>
            </p:nvSpPr>
            <p:spPr bwMode="gray">
              <a:xfrm>
                <a:off x="324465" y="4308980"/>
                <a:ext cx="3263201" cy="47209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1100" dirty="0" err="1">
                    <a:solidFill>
                      <a:schemeClr val="tx1">
                        <a:lumMod val="50000"/>
                      </a:schemeClr>
                    </a:solidFill>
                  </a:rPr>
                  <a:t>Extract</a:t>
                </a:r>
                <a:r>
                  <a:rPr lang="fr-FR" sz="1100" dirty="0">
                    <a:solidFill>
                      <a:schemeClr val="tx1">
                        <a:lumMod val="50000"/>
                      </a:schemeClr>
                    </a:solidFill>
                  </a:rPr>
                  <a:t> </a:t>
                </a:r>
                <a:r>
                  <a:rPr lang="fr-FR" sz="1100" dirty="0" err="1">
                    <a:solidFill>
                      <a:schemeClr val="tx1">
                        <a:lumMod val="50000"/>
                      </a:schemeClr>
                    </a:solidFill>
                  </a:rPr>
                  <a:t>from</a:t>
                </a:r>
                <a:r>
                  <a:rPr lang="fr-FR" sz="1100" dirty="0">
                    <a:solidFill>
                      <a:schemeClr val="tx1">
                        <a:lumMod val="50000"/>
                      </a:schemeClr>
                    </a:solidFill>
                  </a:rPr>
                  <a:t> </a:t>
                </a:r>
                <a:r>
                  <a:rPr lang="fr-FR" sz="1100" dirty="0" err="1">
                    <a:solidFill>
                      <a:schemeClr val="tx1">
                        <a:lumMod val="50000"/>
                      </a:schemeClr>
                    </a:solidFill>
                  </a:rPr>
                  <a:t>Technical</a:t>
                </a:r>
                <a:r>
                  <a:rPr lang="fr-FR" sz="1100" dirty="0">
                    <a:solidFill>
                      <a:schemeClr val="tx1">
                        <a:lumMod val="50000"/>
                      </a:schemeClr>
                    </a:solidFill>
                  </a:rPr>
                  <a:t> note </a:t>
                </a:r>
                <a:r>
                  <a:rPr lang="en-US" sz="1100" dirty="0">
                    <a:solidFill>
                      <a:schemeClr val="tx1">
                        <a:lumMod val="50000"/>
                      </a:schemeClr>
                    </a:solidFill>
                  </a:rPr>
                  <a:t>SPSX-PM-MEMO-0004 -</a:t>
                </a:r>
                <a:r>
                  <a:rPr lang="fr-FR" sz="1100" dirty="0">
                    <a:solidFill>
                      <a:schemeClr val="tx1">
                        <a:lumMod val="50000"/>
                      </a:schemeClr>
                    </a:solidFill>
                  </a:rPr>
                  <a:t> Hadron stopper </a:t>
                </a:r>
                <a:r>
                  <a:rPr lang="fr-FR" sz="1100" dirty="0" err="1">
                    <a:solidFill>
                      <a:schemeClr val="tx1">
                        <a:lumMod val="50000"/>
                      </a:schemeClr>
                    </a:solidFill>
                  </a:rPr>
                  <a:t>coil</a:t>
                </a:r>
                <a:r>
                  <a:rPr lang="fr-FR" sz="1100" dirty="0">
                    <a:solidFill>
                      <a:schemeClr val="tx1">
                        <a:lumMod val="50000"/>
                      </a:schemeClr>
                    </a:solidFill>
                  </a:rPr>
                  <a:t> pack design</a:t>
                </a:r>
              </a:p>
            </p:txBody>
          </p:sp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146AB05-7198-C4AC-E840-79304F45D23B}"/>
                </a:ext>
              </a:extLst>
            </p:cNvPr>
            <p:cNvSpPr/>
            <p:nvPr/>
          </p:nvSpPr>
          <p:spPr bwMode="gray">
            <a:xfrm rot="20684017">
              <a:off x="2652144" y="4019169"/>
              <a:ext cx="516340" cy="191475"/>
            </a:xfrm>
            <a:prstGeom prst="rect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bIns="36000" rtlCol="0" anchor="ctr">
              <a:noAutofit/>
            </a:bodyPr>
            <a:lstStyle/>
            <a:p>
              <a:pPr marL="180000" marR="0" indent="-180000" algn="l" defTabSz="756026" fontAlgn="auto">
                <a:spcBef>
                  <a:spcPts val="900"/>
                </a:spcBef>
                <a:spcAft>
                  <a:spcPts val="0"/>
                </a:spcAft>
                <a:buClr>
                  <a:schemeClr val="bg1"/>
                </a:buClr>
                <a:buSzPct val="100000"/>
                <a:buFont typeface="Wingdings" panose="05000000000000000000" pitchFamily="2" charset="2"/>
                <a:buChar char="§"/>
                <a:tabLst/>
              </a:pPr>
              <a:endParaRPr lang="fr-FR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813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E9944-3BC5-1851-359F-8D58117008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EFC95C6-7C0D-6E0D-2427-89DB94F9B8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C58513B-8130-D215-1A98-BAB1B36CDF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6A52D5C6-EFBF-D630-946F-E3347593F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</a:t>
            </a:r>
            <a:r>
              <a:rPr lang="en-GB" dirty="0"/>
              <a:t>Equipment Analysis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6455501D-387C-90BE-5C63-46677DD62769}"/>
              </a:ext>
            </a:extLst>
          </p:cNvPr>
          <p:cNvSpPr txBox="1"/>
          <p:nvPr/>
        </p:nvSpPr>
        <p:spPr bwMode="gray">
          <a:xfrm>
            <a:off x="280805" y="1675343"/>
            <a:ext cx="4677450" cy="13770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In Technical note (SPSX-PM-MEMO-0004) section 8.1, you are expecting an overhead crane with a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maximum lifting capacity of 7.5t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 To be confirmed (as the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weight of Hadron coil stopper equipment is 30t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The type of interface equipment for sliced components  to be clarified (size, weight and handling eyebolt positions needed  ) 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Attachment to the hook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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to be defined (performed using tele-manipulators or by the operators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C30112E-F411-0C7A-E360-68F17FB3E878}"/>
              </a:ext>
            </a:extLst>
          </p:cNvPr>
          <p:cNvSpPr txBox="1"/>
          <p:nvPr/>
        </p:nvSpPr>
        <p:spPr bwMode="gray">
          <a:xfrm>
            <a:off x="503661" y="693683"/>
            <a:ext cx="6590822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Travelling overhead crane  </a:t>
            </a:r>
          </a:p>
          <a:p>
            <a:pPr algn="l"/>
            <a:endParaRPr lang="fr-FR" dirty="0" err="1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EE072D9-1C47-A00B-8B0C-9F19E1C7AFD7}"/>
              </a:ext>
            </a:extLst>
          </p:cNvPr>
          <p:cNvGrpSpPr/>
          <p:nvPr/>
        </p:nvGrpSpPr>
        <p:grpSpPr>
          <a:xfrm>
            <a:off x="5690324" y="1394460"/>
            <a:ext cx="4086228" cy="3080262"/>
            <a:chOff x="6299005" y="3316706"/>
            <a:chExt cx="3488908" cy="2102670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75E49E69-5F63-C4B4-A3E5-BF00063D8C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99005" y="3316706"/>
              <a:ext cx="3470762" cy="178568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EB82C4B-DD92-900F-1A85-5AF381853E1D}"/>
                </a:ext>
              </a:extLst>
            </p:cNvPr>
            <p:cNvSpPr/>
            <p:nvPr/>
          </p:nvSpPr>
          <p:spPr bwMode="gray">
            <a:xfrm>
              <a:off x="7754200" y="3598646"/>
              <a:ext cx="386552" cy="545117"/>
            </a:xfrm>
            <a:prstGeom prst="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bIns="36000" rtlCol="0" anchor="ctr">
              <a:noAutofit/>
            </a:bodyPr>
            <a:lstStyle/>
            <a:p>
              <a:pPr marL="180000" marR="0" indent="-180000" algn="l" defTabSz="756026" fontAlgn="auto">
                <a:spcBef>
                  <a:spcPts val="900"/>
                </a:spcBef>
                <a:spcAft>
                  <a:spcPts val="0"/>
                </a:spcAft>
                <a:buClr>
                  <a:schemeClr val="bg1"/>
                </a:buClr>
                <a:buSzPct val="100000"/>
                <a:buFont typeface="Wingdings" panose="05000000000000000000" pitchFamily="2" charset="2"/>
                <a:buChar char="§"/>
                <a:tabLst/>
              </a:pPr>
              <a:endParaRPr lang="fr-FR" sz="1400" dirty="0">
                <a:solidFill>
                  <a:schemeClr val="bg1"/>
                </a:solidFill>
              </a:endParaRP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79A3AD24-3F51-96FB-02F2-F8F793187F80}"/>
                </a:ext>
              </a:extLst>
            </p:cNvPr>
            <p:cNvSpPr txBox="1"/>
            <p:nvPr/>
          </p:nvSpPr>
          <p:spPr bwMode="gray">
            <a:xfrm>
              <a:off x="6317151" y="5091756"/>
              <a:ext cx="3470762" cy="3276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FR" sz="1100" dirty="0" err="1">
                  <a:solidFill>
                    <a:schemeClr val="tx1">
                      <a:lumMod val="50000"/>
                    </a:schemeClr>
                  </a:solidFill>
                </a:rPr>
                <a:t>Extract</a:t>
              </a:r>
              <a:r>
                <a:rPr lang="fr-FR" sz="1100" dirty="0">
                  <a:solidFill>
                    <a:schemeClr val="tx1">
                      <a:lumMod val="50000"/>
                    </a:schemeClr>
                  </a:solidFill>
                </a:rPr>
                <a:t> </a:t>
              </a:r>
              <a:r>
                <a:rPr lang="fr-FR" sz="1100" dirty="0" err="1">
                  <a:solidFill>
                    <a:schemeClr val="tx1">
                      <a:lumMod val="50000"/>
                    </a:schemeClr>
                  </a:solidFill>
                </a:rPr>
                <a:t>from</a:t>
              </a:r>
              <a:r>
                <a:rPr lang="fr-FR" sz="1100" dirty="0">
                  <a:solidFill>
                    <a:schemeClr val="tx1">
                      <a:lumMod val="50000"/>
                    </a:schemeClr>
                  </a:solidFill>
                </a:rPr>
                <a:t> </a:t>
              </a:r>
              <a:r>
                <a:rPr lang="fr-FR" sz="1100" dirty="0" err="1">
                  <a:solidFill>
                    <a:schemeClr val="tx1">
                      <a:lumMod val="50000"/>
                    </a:schemeClr>
                  </a:solidFill>
                </a:rPr>
                <a:t>Technical</a:t>
              </a:r>
              <a:r>
                <a:rPr lang="fr-FR" sz="1100" dirty="0">
                  <a:solidFill>
                    <a:schemeClr val="tx1">
                      <a:lumMod val="50000"/>
                    </a:schemeClr>
                  </a:solidFill>
                </a:rPr>
                <a:t> note </a:t>
              </a:r>
              <a:r>
                <a:rPr lang="en-US" sz="1100" dirty="0">
                  <a:solidFill>
                    <a:schemeClr val="tx1">
                      <a:lumMod val="50000"/>
                    </a:schemeClr>
                  </a:solidFill>
                </a:rPr>
                <a:t>SPSX-PM-MEMO-0004 - Packing the sliced component in storage/disposal containers  </a:t>
              </a:r>
              <a:endParaRPr lang="fr-FR" sz="11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0990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C550B-0BA2-B5DA-D7D6-A8CA09F79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3992F0D-CC10-FB33-A3C6-209F7404CA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6711" y="1079938"/>
            <a:ext cx="4966869" cy="3043050"/>
          </a:xfrm>
          <a:prstGeom prst="rect">
            <a:avLst/>
          </a:prstGeom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6E0B2FF-F039-D129-3EF3-902682ACE3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off meeting - Preliminary Design Analysis</a:t>
            </a:r>
            <a:endParaRPr lang="de-DE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986EB1A-0823-B63B-9BAA-DA31585A32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B67E6B-5C27-4022-A7E2-6A768B77B0E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158B5C0-6008-8CF6-B40C-E5B6A39AB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 access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396E5BDD-A8CC-E7A5-14D6-2747DA9B9853}"/>
              </a:ext>
            </a:extLst>
          </p:cNvPr>
          <p:cNvSpPr txBox="1"/>
          <p:nvPr/>
        </p:nvSpPr>
        <p:spPr bwMode="gray">
          <a:xfrm>
            <a:off x="174036" y="1605391"/>
            <a:ext cx="4397964" cy="13770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In technical note- section 9.i,  you expect that the containers cleaning is done by personnel.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Could you provide description of your process, what is the expected number of operators for this operation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You are requesting the integration of connections for compressed air (Utilities), in the case of the air fed suit. Can you specify the type of air fed suit ?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87B7F87-1552-012C-D21D-F95601BD96A1}"/>
              </a:ext>
            </a:extLst>
          </p:cNvPr>
          <p:cNvSpPr txBox="1"/>
          <p:nvPr/>
        </p:nvSpPr>
        <p:spPr bwMode="gray">
          <a:xfrm>
            <a:off x="503661" y="693683"/>
            <a:ext cx="6590822" cy="3862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Cleaning process to be clarified</a:t>
            </a:r>
          </a:p>
          <a:p>
            <a:pPr algn="l"/>
            <a:endParaRPr lang="fr-FR" dirty="0" err="1"/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CF69CC9-0B90-717D-97F0-0CF7DBC42C48}"/>
              </a:ext>
            </a:extLst>
          </p:cNvPr>
          <p:cNvCxnSpPr/>
          <p:nvPr/>
        </p:nvCxnSpPr>
        <p:spPr bwMode="gray">
          <a:xfrm>
            <a:off x="8875030" y="2239942"/>
            <a:ext cx="251460" cy="0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id="{94E052BA-6617-8538-5540-046DE6F1106A}"/>
              </a:ext>
            </a:extLst>
          </p:cNvPr>
          <p:cNvSpPr txBox="1"/>
          <p:nvPr/>
        </p:nvSpPr>
        <p:spPr bwMode="gray">
          <a:xfrm>
            <a:off x="8770213" y="2293917"/>
            <a:ext cx="461095" cy="189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200" noProof="0" dirty="0">
                <a:solidFill>
                  <a:schemeClr val="accent2">
                    <a:lumMod val="10000"/>
                  </a:schemeClr>
                </a:solidFill>
              </a:rPr>
              <a:t>1m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FAC5F763-2010-42F8-1A22-0A7E7C4ACFDF}"/>
              </a:ext>
            </a:extLst>
          </p:cNvPr>
          <p:cNvCxnSpPr>
            <a:cxnSpLocks/>
          </p:cNvCxnSpPr>
          <p:nvPr/>
        </p:nvCxnSpPr>
        <p:spPr bwMode="gray">
          <a:xfrm>
            <a:off x="9206346" y="1392514"/>
            <a:ext cx="0" cy="874256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223D5D3B-51D5-178F-961B-CDB315D6ABA8}"/>
              </a:ext>
            </a:extLst>
          </p:cNvPr>
          <p:cNvSpPr txBox="1"/>
          <p:nvPr/>
        </p:nvSpPr>
        <p:spPr bwMode="gray">
          <a:xfrm rot="5400000">
            <a:off x="9171600" y="1599095"/>
            <a:ext cx="461095" cy="189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200" noProof="0" dirty="0">
                <a:solidFill>
                  <a:schemeClr val="accent2">
                    <a:lumMod val="10000"/>
                  </a:schemeClr>
                </a:solidFill>
              </a:rPr>
              <a:t>3.4m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BC7B2801-BF00-13A8-94EF-08FF81457218}"/>
              </a:ext>
            </a:extLst>
          </p:cNvPr>
          <p:cNvCxnSpPr>
            <a:cxnSpLocks/>
          </p:cNvCxnSpPr>
          <p:nvPr/>
        </p:nvCxnSpPr>
        <p:spPr bwMode="gray">
          <a:xfrm>
            <a:off x="8451495" y="1692061"/>
            <a:ext cx="0" cy="275162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484FF9E2-DB3B-671C-2B3B-FED1AC223461}"/>
              </a:ext>
            </a:extLst>
          </p:cNvPr>
          <p:cNvSpPr txBox="1"/>
          <p:nvPr/>
        </p:nvSpPr>
        <p:spPr bwMode="gray">
          <a:xfrm rot="5400000">
            <a:off x="8134273" y="1734813"/>
            <a:ext cx="461095" cy="189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200" dirty="0">
                <a:solidFill>
                  <a:schemeClr val="accent2">
                    <a:lumMod val="10000"/>
                  </a:schemeClr>
                </a:solidFill>
              </a:rPr>
              <a:t>1m</a:t>
            </a:r>
            <a:endParaRPr lang="en-GB" sz="1200" noProof="0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FEF0387-B058-A214-2A82-888C6EAC8E06}"/>
              </a:ext>
            </a:extLst>
          </p:cNvPr>
          <p:cNvSpPr txBox="1"/>
          <p:nvPr/>
        </p:nvSpPr>
        <p:spPr bwMode="gray">
          <a:xfrm>
            <a:off x="6473954" y="2463059"/>
            <a:ext cx="1101375" cy="276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b="1" noProof="0" dirty="0">
                <a:solidFill>
                  <a:schemeClr val="accent2">
                    <a:lumMod val="10000"/>
                  </a:schemeClr>
                </a:solidFill>
              </a:rPr>
              <a:t>Service Cell</a:t>
            </a:r>
            <a:endParaRPr lang="en-GB" sz="1100" b="1" noProof="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DC404A0C-BCCD-1588-068F-F9D481329EEF}"/>
              </a:ext>
            </a:extLst>
          </p:cNvPr>
          <p:cNvSpPr txBox="1"/>
          <p:nvPr/>
        </p:nvSpPr>
        <p:spPr bwMode="gray">
          <a:xfrm>
            <a:off x="8561063" y="1526281"/>
            <a:ext cx="720546" cy="444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b="1" noProof="0" dirty="0">
                <a:solidFill>
                  <a:schemeClr val="accent2">
                    <a:lumMod val="10000"/>
                  </a:schemeClr>
                </a:solidFill>
              </a:rPr>
              <a:t>Personal </a:t>
            </a:r>
            <a:r>
              <a:rPr lang="en-GB" sz="1000" b="1" noProof="0" dirty="0" err="1">
                <a:solidFill>
                  <a:schemeClr val="accent2">
                    <a:lumMod val="10000"/>
                  </a:schemeClr>
                </a:solidFill>
              </a:rPr>
              <a:t>Acess</a:t>
            </a:r>
            <a:endParaRPr lang="en-GB" sz="1000" b="1" noProof="0" dirty="0"/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3555F23A-8ABB-BE1D-36EE-3102F19FD459}"/>
              </a:ext>
            </a:extLst>
          </p:cNvPr>
          <p:cNvCxnSpPr/>
          <p:nvPr/>
        </p:nvCxnSpPr>
        <p:spPr bwMode="gray">
          <a:xfrm>
            <a:off x="8106414" y="2382177"/>
            <a:ext cx="365839" cy="0"/>
          </a:xfrm>
          <a:prstGeom prst="straightConnector1">
            <a:avLst/>
          </a:prstGeom>
          <a:ln w="9525">
            <a:solidFill>
              <a:schemeClr val="tx1">
                <a:lumMod val="50000"/>
              </a:schemeClr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05FBC135-D280-5D54-FF61-E67980452DC9}"/>
              </a:ext>
            </a:extLst>
          </p:cNvPr>
          <p:cNvSpPr txBox="1"/>
          <p:nvPr/>
        </p:nvSpPr>
        <p:spPr bwMode="gray">
          <a:xfrm>
            <a:off x="8095008" y="2394478"/>
            <a:ext cx="461095" cy="189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200" dirty="0">
                <a:solidFill>
                  <a:schemeClr val="accent2">
                    <a:lumMod val="10000"/>
                  </a:schemeClr>
                </a:solidFill>
              </a:rPr>
              <a:t>1.4m</a:t>
            </a:r>
            <a:endParaRPr lang="en-GB" sz="1200" noProof="0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4EC2F3E0-A234-7A94-C1F8-208756BEA17B}"/>
              </a:ext>
            </a:extLst>
          </p:cNvPr>
          <p:cNvSpPr txBox="1"/>
          <p:nvPr/>
        </p:nvSpPr>
        <p:spPr bwMode="gray">
          <a:xfrm>
            <a:off x="4748018" y="4256755"/>
            <a:ext cx="4458328" cy="230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noProof="0" dirty="0">
                <a:solidFill>
                  <a:srgbClr val="002B4F"/>
                </a:solidFill>
              </a:rPr>
              <a:t>Top view of Service Cell (BDF-target Equipment)</a:t>
            </a:r>
          </a:p>
        </p:txBody>
      </p:sp>
    </p:spTree>
    <p:extLst>
      <p:ext uri="{BB962C8B-B14F-4D97-AF65-F5344CB8AC3E}">
        <p14:creationId xmlns:p14="http://schemas.microsoft.com/office/powerpoint/2010/main" val="1525223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6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lfinger 2025 (EN)">
  <a:themeElements>
    <a:clrScheme name="Bilfinger2025_Color">
      <a:dk1>
        <a:srgbClr val="000000"/>
      </a:dk1>
      <a:lt1>
        <a:srgbClr val="FFFFFF"/>
      </a:lt1>
      <a:dk2>
        <a:srgbClr val="DEEDFD"/>
      </a:dk2>
      <a:lt2>
        <a:srgbClr val="1F299C"/>
      </a:lt2>
      <a:accent1>
        <a:srgbClr val="96D228"/>
      </a:accent1>
      <a:accent2>
        <a:srgbClr val="1E32D2"/>
      </a:accent2>
      <a:accent3>
        <a:srgbClr val="9EC6AA"/>
      </a:accent3>
      <a:accent4>
        <a:srgbClr val="9BAAB9"/>
      </a:accent4>
      <a:accent5>
        <a:srgbClr val="FFE700"/>
      </a:accent5>
      <a:accent6>
        <a:srgbClr val="F6A200"/>
      </a:accent6>
      <a:hlink>
        <a:srgbClr val="96D228"/>
      </a:hlink>
      <a:folHlink>
        <a:srgbClr val="96D228"/>
      </a:folHlink>
    </a:clrScheme>
    <a:fontScheme name="Bilfinger2025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 w="9525">
          <a:noFill/>
        </a:ln>
      </a:spPr>
      <a:bodyPr vert="horz" lIns="108000" tIns="36000" rIns="108000" bIns="36000" rtlCol="0" anchor="ctr">
        <a:noAutofit/>
      </a:bodyPr>
      <a:lstStyle>
        <a:defPPr algn="l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4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Blue for Headlines">
      <a:srgbClr val="1F299C"/>
    </a:custClr>
    <a:custClr name="Bilfinger Green">
      <a:srgbClr val="96D228"/>
    </a:custClr>
    <a:custClr name="Bilfinger Blue">
      <a:srgbClr val="1E32D2"/>
    </a:custClr>
    <a:custClr name="Light Blue">
      <a:srgbClr val="DEEDFD"/>
    </a:custClr>
    <a:custClr name="Silver">
      <a:srgbClr val="9BAAB9"/>
    </a:custClr>
    <a:custClr name="Metallic Green">
      <a:srgbClr val="9EC6AA"/>
    </a:custClr>
    <a:custClr name="Yellow">
      <a:srgbClr val="FFE700"/>
    </a:custClr>
    <a:custClr name="Orange">
      <a:srgbClr val="F6A200"/>
    </a:custClr>
    <a:custClr name="Red">
      <a:srgbClr val="C10525"/>
    </a:custClr>
    <a:custClr name="Violet">
      <a:srgbClr val="661D72"/>
    </a:custClr>
    <a:custClr name="Blue for Headlines 70%">
      <a:srgbClr val="6269BA"/>
    </a:custClr>
    <a:custClr name="Bilfinger Green 70%">
      <a:srgbClr val="B6E069"/>
    </a:custClr>
    <a:custClr name="Bilfinger Blue 70%">
      <a:srgbClr val="6270E0"/>
    </a:custClr>
    <a:custClr name="Light Blue 70%">
      <a:srgbClr val="E8F2FE"/>
    </a:custClr>
    <a:custClr name="Silver 70%">
      <a:srgbClr val="B6C2CD"/>
    </a:custClr>
    <a:custClr name="Metallic Green 70%">
      <a:srgbClr val="BDD9C5"/>
    </a:custClr>
    <a:custClr name="Yellow 70%">
      <a:srgbClr val="FFEE4D"/>
    </a:custClr>
    <a:custClr name="Orange 70%">
      <a:srgbClr val="F9BE4D"/>
    </a:custClr>
    <a:custClr name="Red 70%">
      <a:srgbClr val="D45066"/>
    </a:custClr>
    <a:custClr name="Violet 70%">
      <a:srgbClr val="94619C"/>
    </a:custClr>
    <a:custClr name="Blue for Headlines 40%">
      <a:srgbClr val="A5A9D7"/>
    </a:custClr>
    <a:custClr name="Bilfinger Green 40%">
      <a:srgbClr val="D5EDA9"/>
    </a:custClr>
    <a:custClr name="Bilfinger Blue 40%">
      <a:srgbClr val="A5ADED"/>
    </a:custClr>
    <a:custClr name="Light Blue 40%">
      <a:srgbClr val="F2F8FE"/>
    </a:custClr>
    <a:custClr name="Silver 40%">
      <a:srgbClr val="D5DBE2"/>
    </a:custClr>
    <a:custClr name="Metallic Green 40%">
      <a:srgbClr val="DBE9DF"/>
    </a:custClr>
    <a:custClr name="Yellow 40%">
      <a:srgbClr val="FFF599"/>
    </a:custClr>
    <a:custClr name="Orange 40%">
      <a:srgbClr val="FBDA99"/>
    </a:custClr>
    <a:custClr name="Red 40%">
      <a:srgbClr val="E69BA8"/>
    </a:custClr>
    <a:custClr name="Violet 40%">
      <a:srgbClr val="C2A5C7"/>
    </a:custClr>
  </a:custClrLst>
  <a:extLst>
    <a:ext uri="{05A4C25C-085E-4340-85A3-A5531E510DB2}">
      <thm15:themeFamily xmlns:thm15="http://schemas.microsoft.com/office/thememl/2012/main" name="Mastertemplate_Bilfinger_2025_EN.pptx" id="{EFED0242-4409-45D8-B411-60081831A843}" vid="{05213657-8A70-47C8-AE7E-1931D9D79B08}"/>
    </a:ext>
  </a:extLst>
</a:theme>
</file>

<file path=ppt/theme/theme2.xml><?xml version="1.0" encoding="utf-8"?>
<a:theme xmlns:a="http://schemas.openxmlformats.org/drawingml/2006/main" name="Office">
  <a:themeElements>
    <a:clrScheme name="Bilfinger2025_Color">
      <a:dk1>
        <a:srgbClr val="000000"/>
      </a:dk1>
      <a:lt1>
        <a:srgbClr val="FFFFFF"/>
      </a:lt1>
      <a:dk2>
        <a:srgbClr val="1F299C"/>
      </a:dk2>
      <a:lt2>
        <a:srgbClr val="DEEDFD"/>
      </a:lt2>
      <a:accent1>
        <a:srgbClr val="96D228"/>
      </a:accent1>
      <a:accent2>
        <a:srgbClr val="1E32D2"/>
      </a:accent2>
      <a:accent3>
        <a:srgbClr val="9EC6AA"/>
      </a:accent3>
      <a:accent4>
        <a:srgbClr val="9BAAB9"/>
      </a:accent4>
      <a:accent5>
        <a:srgbClr val="F8EC27"/>
      </a:accent5>
      <a:accent6>
        <a:srgbClr val="F0A71C"/>
      </a:accent6>
      <a:hlink>
        <a:srgbClr val="96D228"/>
      </a:hlink>
      <a:folHlink>
        <a:srgbClr val="96D228"/>
      </a:folHlink>
    </a:clrScheme>
    <a:fontScheme name="Bilfinger2025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ilfinger2025_Color">
      <a:dk1>
        <a:srgbClr val="000000"/>
      </a:dk1>
      <a:lt1>
        <a:srgbClr val="FFFFFF"/>
      </a:lt1>
      <a:dk2>
        <a:srgbClr val="1F299C"/>
      </a:dk2>
      <a:lt2>
        <a:srgbClr val="DEEDFD"/>
      </a:lt2>
      <a:accent1>
        <a:srgbClr val="96D228"/>
      </a:accent1>
      <a:accent2>
        <a:srgbClr val="1E32D2"/>
      </a:accent2>
      <a:accent3>
        <a:srgbClr val="9EC6AA"/>
      </a:accent3>
      <a:accent4>
        <a:srgbClr val="9BAAB9"/>
      </a:accent4>
      <a:accent5>
        <a:srgbClr val="F8EC27"/>
      </a:accent5>
      <a:accent6>
        <a:srgbClr val="F0A71C"/>
      </a:accent6>
      <a:hlink>
        <a:srgbClr val="96D228"/>
      </a:hlink>
      <a:folHlink>
        <a:srgbClr val="96D228"/>
      </a:folHlink>
    </a:clrScheme>
    <a:fontScheme name="Bilfinger2025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9F0C7CFF2D68E41BE34C5111552CADC" ma:contentTypeVersion="6" ma:contentTypeDescription="Ein neues Dokument erstellen." ma:contentTypeScope="" ma:versionID="e73214c553d254f55675e8acd5044eae">
  <xsd:schema xmlns:xsd="http://www.w3.org/2001/XMLSchema" xmlns:xs="http://www.w3.org/2001/XMLSchema" xmlns:p="http://schemas.microsoft.com/office/2006/metadata/properties" xmlns:ns2="a438eb95-a851-4bdf-8a92-f9261769bbf2" xmlns:ns3="c6c9f623-1d12-4ab7-961e-debf287ff764" targetNamespace="http://schemas.microsoft.com/office/2006/metadata/properties" ma:root="true" ma:fieldsID="b3923b1f7643b05a6a2d319d062aae2c" ns2:_="" ns3:_="">
    <xsd:import namespace="a438eb95-a851-4bdf-8a92-f9261769bbf2"/>
    <xsd:import namespace="c6c9f623-1d12-4ab7-961e-debf287ff7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8eb95-a851-4bdf-8a92-f9261769bb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9f623-1d12-4ab7-961e-debf287ff76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2D16375-EAB8-42CC-9558-33F0FB944317}">
  <ds:schemaRefs>
    <ds:schemaRef ds:uri="1645e8e5-6db1-4531-baf1-9dd2adfb2a99"/>
    <ds:schemaRef ds:uri="3a985e9e-32f0-4ae2-b3d0-1d8ae6c5306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044C08B-C8CC-495E-B0F1-B115ED2B17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98529C-AA0A-4ED2-BCF2-0690871F89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8eb95-a851-4bdf-8a92-f9261769bbf2"/>
    <ds:schemaRef ds:uri="c6c9f623-1d12-4ab7-961e-debf287ff7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lfinger_Master_EN</Template>
  <TotalTime>0</TotalTime>
  <Words>697</Words>
  <Application>Microsoft Office PowerPoint</Application>
  <PresentationFormat>Personnalisé</PresentationFormat>
  <Paragraphs>101</Paragraphs>
  <Slides>9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3" baseType="lpstr">
      <vt:lpstr>Arial</vt:lpstr>
      <vt:lpstr>Wingdings</vt:lpstr>
      <vt:lpstr>Bilfinger 2025 (EN)</vt:lpstr>
      <vt:lpstr>think-cell Folie</vt:lpstr>
      <vt:lpstr>PRELIMINARY DESIGN ANALYSIS</vt:lpstr>
      <vt:lpstr>General Arrangement of the service cell</vt:lpstr>
      <vt:lpstr>General Arrangement of the service cell</vt:lpstr>
      <vt:lpstr>General Arrangement of the service cell</vt:lpstr>
      <vt:lpstr>Cutting System (out of scope)</vt:lpstr>
      <vt:lpstr>Cutting System (out of scope)</vt:lpstr>
      <vt:lpstr>Main Equipment Analysis</vt:lpstr>
      <vt:lpstr>Main Equipment Analysis</vt:lpstr>
      <vt:lpstr>Personal access</vt:lpstr>
    </vt:vector>
  </TitlesOfParts>
  <Manager/>
  <Company>Bilfinger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Naulleau, Annabelle (Bilfinger)</dc:creator>
  <cp:keywords/>
  <dc:description/>
  <cp:lastModifiedBy>Hrisse, Mohammed (Bilfinger)</cp:lastModifiedBy>
  <cp:revision>21</cp:revision>
  <dcterms:created xsi:type="dcterms:W3CDTF">2025-08-29T12:47:00Z</dcterms:created>
  <dcterms:modified xsi:type="dcterms:W3CDTF">2025-09-01T07:24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002d7af-770e-4ff9-b119-21595b3bb0e4_Enabled">
    <vt:lpwstr>true</vt:lpwstr>
  </property>
  <property fmtid="{D5CDD505-2E9C-101B-9397-08002B2CF9AE}" pid="3" name="MSIP_Label_4002d7af-770e-4ff9-b119-21595b3bb0e4_SetDate">
    <vt:lpwstr>2023-10-26T13:33:56Z</vt:lpwstr>
  </property>
  <property fmtid="{D5CDD505-2E9C-101B-9397-08002B2CF9AE}" pid="4" name="MSIP_Label_4002d7af-770e-4ff9-b119-21595b3bb0e4_Method">
    <vt:lpwstr>Standard</vt:lpwstr>
  </property>
  <property fmtid="{D5CDD505-2E9C-101B-9397-08002B2CF9AE}" pid="5" name="MSIP_Label_4002d7af-770e-4ff9-b119-21595b3bb0e4_Name">
    <vt:lpwstr>Internal</vt:lpwstr>
  </property>
  <property fmtid="{D5CDD505-2E9C-101B-9397-08002B2CF9AE}" pid="6" name="MSIP_Label_4002d7af-770e-4ff9-b119-21595b3bb0e4_SiteId">
    <vt:lpwstr>a0c73f02-35f4-41e3-be9d-9f7b606571cc</vt:lpwstr>
  </property>
  <property fmtid="{D5CDD505-2E9C-101B-9397-08002B2CF9AE}" pid="7" name="MSIP_Label_4002d7af-770e-4ff9-b119-21595b3bb0e4_ActionId">
    <vt:lpwstr>217dc170-2acb-449d-bebb-ec72f1ba89d8</vt:lpwstr>
  </property>
  <property fmtid="{D5CDD505-2E9C-101B-9397-08002B2CF9AE}" pid="8" name="MSIP_Label_4002d7af-770e-4ff9-b119-21595b3bb0e4_ContentBits">
    <vt:lpwstr>2</vt:lpwstr>
  </property>
  <property fmtid="{D5CDD505-2E9C-101B-9397-08002B2CF9AE}" pid="9" name="ClassificationContentMarkingFooterLocations">
    <vt:lpwstr>Master_Bilfinger:10</vt:lpwstr>
  </property>
  <property fmtid="{D5CDD505-2E9C-101B-9397-08002B2CF9AE}" pid="10" name="ClassificationContentMarkingFooterText">
    <vt:lpwstr>Confidentiality: Internal</vt:lpwstr>
  </property>
  <property fmtid="{D5CDD505-2E9C-101B-9397-08002B2CF9AE}" pid="11" name="ValoBusinessArea">
    <vt:lpwstr/>
  </property>
  <property fmtid="{D5CDD505-2E9C-101B-9397-08002B2CF9AE}" pid="12" name="ValoTags">
    <vt:lpwstr/>
  </property>
  <property fmtid="{D5CDD505-2E9C-101B-9397-08002B2CF9AE}" pid="13" name="MediaServiceImageTags">
    <vt:lpwstr/>
  </property>
  <property fmtid="{D5CDD505-2E9C-101B-9397-08002B2CF9AE}" pid="14" name="ContentTypeId">
    <vt:lpwstr>0x010100D9F0C7CFF2D68E41BE34C5111552CADC</vt:lpwstr>
  </property>
  <property fmtid="{D5CDD505-2E9C-101B-9397-08002B2CF9AE}" pid="15" name="ValoOfficeLocation">
    <vt:lpwstr/>
  </property>
  <property fmtid="{D5CDD505-2E9C-101B-9397-08002B2CF9AE}" pid="16" name="bfe293df75f448d586bf75e9e1f9af8a">
    <vt:lpwstr>Offen|14e675dd-760f-46cb-8ef7-e4456a4ec225</vt:lpwstr>
  </property>
  <property fmtid="{D5CDD505-2E9C-101B-9397-08002B2CF9AE}" pid="17" name="NavooColDocState">
    <vt:lpwstr>5;#Offen|14e675dd-760f-46cb-8ef7-e4456a4ec225</vt:lpwstr>
  </property>
</Properties>
</file>